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20.bin" ContentType="image/unknown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8" r:id="rId2"/>
  </p:sldMasterIdLst>
  <p:notesMasterIdLst>
    <p:notesMasterId r:id="rId29"/>
  </p:notesMasterIdLst>
  <p:handoutMasterIdLst>
    <p:handoutMasterId r:id="rId30"/>
  </p:handoutMasterIdLst>
  <p:sldIdLst>
    <p:sldId id="2147481411" r:id="rId3"/>
    <p:sldId id="368" r:id="rId4"/>
    <p:sldId id="379" r:id="rId5"/>
    <p:sldId id="2147481436" r:id="rId6"/>
    <p:sldId id="2147481439" r:id="rId7"/>
    <p:sldId id="2147481413" r:id="rId8"/>
    <p:sldId id="2147481435" r:id="rId9"/>
    <p:sldId id="2147481412" r:id="rId10"/>
    <p:sldId id="2147481432" r:id="rId11"/>
    <p:sldId id="2147481433" r:id="rId12"/>
    <p:sldId id="2147481434" r:id="rId13"/>
    <p:sldId id="2147481441" r:id="rId14"/>
    <p:sldId id="2147481442" r:id="rId15"/>
    <p:sldId id="2147481423" r:id="rId16"/>
    <p:sldId id="2147481414" r:id="rId17"/>
    <p:sldId id="2147481415" r:id="rId18"/>
    <p:sldId id="2147481418" r:id="rId19"/>
    <p:sldId id="2147481431" r:id="rId20"/>
    <p:sldId id="2147481430" r:id="rId21"/>
    <p:sldId id="2147481419" r:id="rId22"/>
    <p:sldId id="2147481421" r:id="rId23"/>
    <p:sldId id="2147481420" r:id="rId24"/>
    <p:sldId id="2147481438" r:id="rId25"/>
    <p:sldId id="2147481437" r:id="rId26"/>
    <p:sldId id="2147481440" r:id="rId27"/>
    <p:sldId id="2147481402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400" kern="1200">
        <a:solidFill>
          <a:schemeClr val="tx2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9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5pPr>
    <a:lvl6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6pPr>
    <a:lvl7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7pPr>
    <a:lvl8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8pPr>
    <a:lvl9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Sztuka" initials="MS" lastIdx="1" clrIdx="0">
    <p:extLst>
      <p:ext uri="{19B8F6BF-5375-455C-9EA6-DF929625EA0E}">
        <p15:presenceInfo xmlns:p15="http://schemas.microsoft.com/office/powerpoint/2012/main" userId="S::marion.sztuka@strategy-compass.com::486c4479-caac-4d16-a015-cb07c99f9d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0F26"/>
    <a:srgbClr val="6B6B6B"/>
    <a:srgbClr val="FFFFFF"/>
    <a:srgbClr val="007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2AF9EF-F390-4D92-AA95-BCA4CEEC9815}" v="7" dt="2023-10-17T09:35:53.048"/>
  </p1510:revLst>
</p1510:revInfo>
</file>

<file path=ppt/tableStyles.xml><?xml version="1.0" encoding="utf-8"?>
<a:tblStyleLst xmlns:a="http://schemas.openxmlformats.org/drawingml/2006/main" def="{401A4AF6-95C6-4AA6-A552-55ACE4769191}">
  <a:tblStyle styleId="{401A4AF6-95C6-4AA6-A552-55ACE4769191}" styleName="NTT table">
    <a:wholeTbl>
      <a:tcTxStyle>
        <a:fontRef idx="minor">
          <a:prstClr val="black"/>
        </a:fontRef>
        <a:schemeClr val="dk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accent1"/>
      </a:tcTxStyle>
      <a:tcStyle>
        <a:tcBdr/>
      </a:tcStyle>
    </a:lastCol>
    <a:firstCol>
      <a:tcTxStyle b="off">
        <a:fontRef idx="minor">
          <a:prstClr val="black"/>
        </a:fontRef>
        <a:schemeClr val="accent1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28575" cmpd="sng">
              <a:solidFill>
                <a:schemeClr val="accent2"/>
              </a:solidFill>
            </a:ln>
          </a:top>
        </a:tcBdr>
      </a:tcStyle>
    </a:lastRow>
    <a:firstRow>
      <a:tcTxStyle b="off">
        <a:fontRef idx="minor">
          <a:prstClr val="black"/>
        </a:fontRef>
        <a:schemeClr val="accent1"/>
      </a:tcTxStyle>
      <a:tcStyle>
        <a:tcBdr>
          <a:bottom>
            <a:ln w="28575" cmpd="sng">
              <a:solidFill>
                <a:schemeClr val="accent2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9" autoAdjust="0"/>
    <p:restoredTop sz="63467" autoAdjust="0"/>
  </p:normalViewPr>
  <p:slideViewPr>
    <p:cSldViewPr snapToGrid="0" snapToObjects="1" showGuides="1">
      <p:cViewPr varScale="1">
        <p:scale>
          <a:sx n="54" d="100"/>
          <a:sy n="54" d="100"/>
        </p:scale>
        <p:origin x="1810" y="62"/>
      </p:cViewPr>
      <p:guideLst>
        <p:guide orient="horz" pos="210"/>
        <p:guide orient="horz" pos="89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-773"/>
    </p:cViewPr>
  </p:notesTextViewPr>
  <p:sorterViewPr>
    <p:cViewPr>
      <p:scale>
        <a:sx n="100" d="100"/>
        <a:sy n="100" d="100"/>
      </p:scale>
      <p:origin x="0" y="-2875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249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6E8184-6640-4F09-A527-8D3861FEAF58}" type="doc">
      <dgm:prSet loTypeId="urn:microsoft.com/office/officeart/2017/3/layout/DropPinTimeline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67BA63-B818-4CAA-A737-FBEB4421EC00}">
      <dgm:prSet/>
      <dgm:spPr/>
      <dgm:t>
        <a:bodyPr/>
        <a:lstStyle/>
        <a:p>
          <a:pPr>
            <a:defRPr b="1"/>
          </a:pPr>
          <a:r>
            <a:rPr lang="en-US" dirty="0"/>
            <a:t>10:15 – 10:45</a:t>
          </a:r>
        </a:p>
      </dgm:t>
    </dgm:pt>
    <dgm:pt modelId="{07A20F48-AF29-4EAB-AE7E-DE71EFFC6355}" type="parTrans" cxnId="{97D0B149-CB52-4785-839C-0958DC6DBBBA}">
      <dgm:prSet/>
      <dgm:spPr/>
      <dgm:t>
        <a:bodyPr/>
        <a:lstStyle/>
        <a:p>
          <a:endParaRPr lang="en-US"/>
        </a:p>
      </dgm:t>
    </dgm:pt>
    <dgm:pt modelId="{0C387DFB-2BCA-4760-8060-F939FF8F231D}" type="sibTrans" cxnId="{97D0B149-CB52-4785-839C-0958DC6DBBBA}">
      <dgm:prSet/>
      <dgm:spPr/>
      <dgm:t>
        <a:bodyPr/>
        <a:lstStyle/>
        <a:p>
          <a:endParaRPr lang="en-US"/>
        </a:p>
      </dgm:t>
    </dgm:pt>
    <dgm:pt modelId="{7C89D940-5D37-49F9-858D-25BB1E58CF58}">
      <dgm:prSet/>
      <dgm:spPr/>
      <dgm:t>
        <a:bodyPr/>
        <a:lstStyle/>
        <a:p>
          <a:r>
            <a:rPr lang="en-US" dirty="0"/>
            <a:t>Introduction</a:t>
          </a:r>
        </a:p>
      </dgm:t>
    </dgm:pt>
    <dgm:pt modelId="{3BF83C38-8C8C-40BB-AA44-333E09578C7F}" type="parTrans" cxnId="{705D0387-E5D0-464F-BB95-2D59B3AD828C}">
      <dgm:prSet/>
      <dgm:spPr/>
      <dgm:t>
        <a:bodyPr/>
        <a:lstStyle/>
        <a:p>
          <a:endParaRPr lang="en-US"/>
        </a:p>
      </dgm:t>
    </dgm:pt>
    <dgm:pt modelId="{3E84EB8D-FD6F-498F-BED5-9993DE96B127}" type="sibTrans" cxnId="{705D0387-E5D0-464F-BB95-2D59B3AD828C}">
      <dgm:prSet/>
      <dgm:spPr/>
      <dgm:t>
        <a:bodyPr/>
        <a:lstStyle/>
        <a:p>
          <a:endParaRPr lang="en-US"/>
        </a:p>
      </dgm:t>
    </dgm:pt>
    <dgm:pt modelId="{99964707-1C2B-46E7-BD29-3F9C4DCD0F40}">
      <dgm:prSet/>
      <dgm:spPr/>
      <dgm:t>
        <a:bodyPr/>
        <a:lstStyle/>
        <a:p>
          <a:pPr>
            <a:defRPr b="1"/>
          </a:pPr>
          <a:r>
            <a:rPr lang="en-US" dirty="0"/>
            <a:t>10:45 – 11:15</a:t>
          </a:r>
        </a:p>
      </dgm:t>
    </dgm:pt>
    <dgm:pt modelId="{73B4D98B-D350-43F5-825C-BE33A09050FC}" type="parTrans" cxnId="{42678EFD-DB52-4236-A3B5-35A5DAC3B14C}">
      <dgm:prSet/>
      <dgm:spPr/>
      <dgm:t>
        <a:bodyPr/>
        <a:lstStyle/>
        <a:p>
          <a:endParaRPr lang="en-US"/>
        </a:p>
      </dgm:t>
    </dgm:pt>
    <dgm:pt modelId="{96B47E33-D9BD-45E9-B9B8-4FEE05B2C037}" type="sibTrans" cxnId="{42678EFD-DB52-4236-A3B5-35A5DAC3B14C}">
      <dgm:prSet/>
      <dgm:spPr/>
      <dgm:t>
        <a:bodyPr/>
        <a:lstStyle/>
        <a:p>
          <a:endParaRPr lang="en-US"/>
        </a:p>
      </dgm:t>
    </dgm:pt>
    <dgm:pt modelId="{DC59C05E-749D-47C9-864E-D4F1AC863C0D}">
      <dgm:prSet/>
      <dgm:spPr/>
      <dgm:t>
        <a:bodyPr/>
        <a:lstStyle/>
        <a:p>
          <a:r>
            <a:rPr lang="en-US" dirty="0"/>
            <a:t>AWS terminology </a:t>
          </a:r>
          <a:br>
            <a:rPr lang="en-US" dirty="0"/>
          </a:br>
          <a:r>
            <a:rPr lang="en-US" dirty="0"/>
            <a:t>and CLI</a:t>
          </a:r>
        </a:p>
      </dgm:t>
    </dgm:pt>
    <dgm:pt modelId="{C0967635-0FC3-44B9-8D2E-8A3AF5A1C72A}" type="parTrans" cxnId="{1D8BCDF8-65CC-4268-98FA-495C381B1A77}">
      <dgm:prSet/>
      <dgm:spPr/>
      <dgm:t>
        <a:bodyPr/>
        <a:lstStyle/>
        <a:p>
          <a:endParaRPr lang="en-US"/>
        </a:p>
      </dgm:t>
    </dgm:pt>
    <dgm:pt modelId="{353A13B3-DF88-4D40-8649-1B8D36C9E956}" type="sibTrans" cxnId="{1D8BCDF8-65CC-4268-98FA-495C381B1A77}">
      <dgm:prSet/>
      <dgm:spPr/>
      <dgm:t>
        <a:bodyPr/>
        <a:lstStyle/>
        <a:p>
          <a:endParaRPr lang="en-US"/>
        </a:p>
      </dgm:t>
    </dgm:pt>
    <dgm:pt modelId="{4CA74B4D-450A-4B1A-AF65-713E4E88A15A}">
      <dgm:prSet/>
      <dgm:spPr/>
      <dgm:t>
        <a:bodyPr/>
        <a:lstStyle/>
        <a:p>
          <a:pPr>
            <a:defRPr b="1"/>
          </a:pPr>
          <a:r>
            <a:rPr lang="en-US" dirty="0"/>
            <a:t>11:15 – 11:45</a:t>
          </a:r>
        </a:p>
      </dgm:t>
    </dgm:pt>
    <dgm:pt modelId="{C15D8AA6-4717-4CE1-A1AB-67E9464F5147}" type="parTrans" cxnId="{93E9BB17-A082-43A4-8F8F-3122CF39F9F3}">
      <dgm:prSet/>
      <dgm:spPr/>
      <dgm:t>
        <a:bodyPr/>
        <a:lstStyle/>
        <a:p>
          <a:endParaRPr lang="en-US"/>
        </a:p>
      </dgm:t>
    </dgm:pt>
    <dgm:pt modelId="{D44480AC-D7F1-4B5C-B22D-7F844B1DBE2E}" type="sibTrans" cxnId="{93E9BB17-A082-43A4-8F8F-3122CF39F9F3}">
      <dgm:prSet/>
      <dgm:spPr/>
      <dgm:t>
        <a:bodyPr/>
        <a:lstStyle/>
        <a:p>
          <a:endParaRPr lang="en-US"/>
        </a:p>
      </dgm:t>
    </dgm:pt>
    <dgm:pt modelId="{7B17E182-27DA-4472-8656-1596786DD0D9}">
      <dgm:prSet/>
      <dgm:spPr/>
      <dgm:t>
        <a:bodyPr/>
        <a:lstStyle/>
        <a:p>
          <a:r>
            <a:rPr lang="en-US"/>
            <a:t>S3</a:t>
          </a:r>
        </a:p>
      </dgm:t>
    </dgm:pt>
    <dgm:pt modelId="{013B19BA-9DF0-4CCB-BEA1-ACAA71895E89}" type="parTrans" cxnId="{BD47F8A5-2FD6-4127-9A86-F57719BC2399}">
      <dgm:prSet/>
      <dgm:spPr/>
      <dgm:t>
        <a:bodyPr/>
        <a:lstStyle/>
        <a:p>
          <a:endParaRPr lang="en-US"/>
        </a:p>
      </dgm:t>
    </dgm:pt>
    <dgm:pt modelId="{536A0CA4-973C-4DA3-A086-417B44A9F35F}" type="sibTrans" cxnId="{BD47F8A5-2FD6-4127-9A86-F57719BC2399}">
      <dgm:prSet/>
      <dgm:spPr/>
      <dgm:t>
        <a:bodyPr/>
        <a:lstStyle/>
        <a:p>
          <a:endParaRPr lang="en-US"/>
        </a:p>
      </dgm:t>
    </dgm:pt>
    <dgm:pt modelId="{6CE3F52C-BE2C-4084-9060-714D02F35C17}">
      <dgm:prSet/>
      <dgm:spPr/>
      <dgm:t>
        <a:bodyPr/>
        <a:lstStyle/>
        <a:p>
          <a:pPr>
            <a:defRPr b="1"/>
          </a:pPr>
          <a:r>
            <a:rPr lang="en-US" dirty="0"/>
            <a:t>11:45 – 12:30</a:t>
          </a:r>
        </a:p>
      </dgm:t>
    </dgm:pt>
    <dgm:pt modelId="{1755B2A3-F9B2-43EE-8313-50082B2482D3}" type="parTrans" cxnId="{92842ADA-4A04-4A0C-AC3C-87A9674E1FF4}">
      <dgm:prSet/>
      <dgm:spPr/>
      <dgm:t>
        <a:bodyPr/>
        <a:lstStyle/>
        <a:p>
          <a:endParaRPr lang="en-US"/>
        </a:p>
      </dgm:t>
    </dgm:pt>
    <dgm:pt modelId="{3245B5C7-74FE-408D-971E-C8C331F96863}" type="sibTrans" cxnId="{92842ADA-4A04-4A0C-AC3C-87A9674E1FF4}">
      <dgm:prSet/>
      <dgm:spPr/>
      <dgm:t>
        <a:bodyPr/>
        <a:lstStyle/>
        <a:p>
          <a:endParaRPr lang="en-US"/>
        </a:p>
      </dgm:t>
    </dgm:pt>
    <dgm:pt modelId="{06A406EE-B63B-41A3-AF82-00ACDAB169BA}">
      <dgm:prSet/>
      <dgm:spPr/>
      <dgm:t>
        <a:bodyPr/>
        <a:lstStyle/>
        <a:p>
          <a:r>
            <a:rPr lang="en-US"/>
            <a:t>DynamoDB</a:t>
          </a:r>
        </a:p>
      </dgm:t>
    </dgm:pt>
    <dgm:pt modelId="{63214697-1B43-43C6-8664-B9A1C4C799AE}" type="parTrans" cxnId="{A13CFFAD-76C9-4AD1-8B31-DFE7383EDF66}">
      <dgm:prSet/>
      <dgm:spPr/>
      <dgm:t>
        <a:bodyPr/>
        <a:lstStyle/>
        <a:p>
          <a:endParaRPr lang="en-US"/>
        </a:p>
      </dgm:t>
    </dgm:pt>
    <dgm:pt modelId="{9607BFAA-7F31-407E-81C5-33FDD159926F}" type="sibTrans" cxnId="{A13CFFAD-76C9-4AD1-8B31-DFE7383EDF66}">
      <dgm:prSet/>
      <dgm:spPr/>
      <dgm:t>
        <a:bodyPr/>
        <a:lstStyle/>
        <a:p>
          <a:endParaRPr lang="en-US"/>
        </a:p>
      </dgm:t>
    </dgm:pt>
    <dgm:pt modelId="{63166B40-F97B-4A3E-9550-0C4884A88B7C}">
      <dgm:prSet/>
      <dgm:spPr/>
      <dgm:t>
        <a:bodyPr/>
        <a:lstStyle/>
        <a:p>
          <a:pPr>
            <a:defRPr b="1"/>
          </a:pPr>
          <a:r>
            <a:rPr lang="en-US"/>
            <a:t>12:30 – 13:30</a:t>
          </a:r>
        </a:p>
      </dgm:t>
    </dgm:pt>
    <dgm:pt modelId="{4106CDC8-F9D8-4B2B-B84D-8B644D1F715D}" type="parTrans" cxnId="{678AC83C-8CA2-496A-AE8D-0494D2E3F67A}">
      <dgm:prSet/>
      <dgm:spPr/>
      <dgm:t>
        <a:bodyPr/>
        <a:lstStyle/>
        <a:p>
          <a:endParaRPr lang="en-US"/>
        </a:p>
      </dgm:t>
    </dgm:pt>
    <dgm:pt modelId="{B6525E1B-CBCD-4D8F-A902-49ED500CF6C8}" type="sibTrans" cxnId="{678AC83C-8CA2-496A-AE8D-0494D2E3F67A}">
      <dgm:prSet/>
      <dgm:spPr/>
      <dgm:t>
        <a:bodyPr/>
        <a:lstStyle/>
        <a:p>
          <a:endParaRPr lang="en-US"/>
        </a:p>
      </dgm:t>
    </dgm:pt>
    <dgm:pt modelId="{0C45C7CB-D88E-44C2-832B-D4C11DCFC816}">
      <dgm:prSet/>
      <dgm:spPr/>
      <dgm:t>
        <a:bodyPr/>
        <a:lstStyle/>
        <a:p>
          <a:r>
            <a:rPr lang="en-US"/>
            <a:t>Lunch break</a:t>
          </a:r>
        </a:p>
      </dgm:t>
    </dgm:pt>
    <dgm:pt modelId="{102C11CD-E0C0-4CD6-83D6-02CE2DA0F10E}" type="parTrans" cxnId="{EA9CA228-8179-4BAC-8AA4-7C5325D17062}">
      <dgm:prSet/>
      <dgm:spPr/>
      <dgm:t>
        <a:bodyPr/>
        <a:lstStyle/>
        <a:p>
          <a:endParaRPr lang="en-US"/>
        </a:p>
      </dgm:t>
    </dgm:pt>
    <dgm:pt modelId="{3B14A5A0-4FDB-4243-B588-599EF7DA575D}" type="sibTrans" cxnId="{EA9CA228-8179-4BAC-8AA4-7C5325D17062}">
      <dgm:prSet/>
      <dgm:spPr/>
      <dgm:t>
        <a:bodyPr/>
        <a:lstStyle/>
        <a:p>
          <a:endParaRPr lang="en-US"/>
        </a:p>
      </dgm:t>
    </dgm:pt>
    <dgm:pt modelId="{8EF7EAAB-C81C-4CF5-9AE6-1D68A5CDCCDA}">
      <dgm:prSet/>
      <dgm:spPr/>
      <dgm:t>
        <a:bodyPr/>
        <a:lstStyle/>
        <a:p>
          <a:pPr>
            <a:defRPr b="1"/>
          </a:pPr>
          <a:r>
            <a:rPr lang="en-US" dirty="0"/>
            <a:t>13:30 – 15:30</a:t>
          </a:r>
        </a:p>
      </dgm:t>
    </dgm:pt>
    <dgm:pt modelId="{1B00E632-6B67-4215-9369-415852D72729}" type="parTrans" cxnId="{0BA1EF40-AEBB-402D-B847-C2DB94ACAF30}">
      <dgm:prSet/>
      <dgm:spPr/>
      <dgm:t>
        <a:bodyPr/>
        <a:lstStyle/>
        <a:p>
          <a:endParaRPr lang="en-US"/>
        </a:p>
      </dgm:t>
    </dgm:pt>
    <dgm:pt modelId="{24555A22-1A52-4D2F-8722-5BF711876432}" type="sibTrans" cxnId="{0BA1EF40-AEBB-402D-B847-C2DB94ACAF30}">
      <dgm:prSet/>
      <dgm:spPr/>
      <dgm:t>
        <a:bodyPr/>
        <a:lstStyle/>
        <a:p>
          <a:endParaRPr lang="en-US"/>
        </a:p>
      </dgm:t>
    </dgm:pt>
    <dgm:pt modelId="{8E1CE21D-2541-4063-8530-04506542ECAC}">
      <dgm:prSet/>
      <dgm:spPr/>
      <dgm:t>
        <a:bodyPr/>
        <a:lstStyle/>
        <a:p>
          <a:r>
            <a:rPr lang="en-US"/>
            <a:t>Lambda (and possibly API gateway)</a:t>
          </a:r>
        </a:p>
      </dgm:t>
    </dgm:pt>
    <dgm:pt modelId="{6498FE70-1C23-45CA-B01D-EE0F0D4FCABA}" type="parTrans" cxnId="{5F4BB421-FF75-44CB-B5B2-8E97E3E67FF9}">
      <dgm:prSet/>
      <dgm:spPr/>
      <dgm:t>
        <a:bodyPr/>
        <a:lstStyle/>
        <a:p>
          <a:endParaRPr lang="en-US"/>
        </a:p>
      </dgm:t>
    </dgm:pt>
    <dgm:pt modelId="{512AEAF7-E06C-4913-BE4F-EDB176C4E723}" type="sibTrans" cxnId="{5F4BB421-FF75-44CB-B5B2-8E97E3E67FF9}">
      <dgm:prSet/>
      <dgm:spPr/>
      <dgm:t>
        <a:bodyPr/>
        <a:lstStyle/>
        <a:p>
          <a:endParaRPr lang="en-US"/>
        </a:p>
      </dgm:t>
    </dgm:pt>
    <dgm:pt modelId="{29982918-FC04-49A6-B8F6-D6A67B05D36B}">
      <dgm:prSet/>
      <dgm:spPr/>
      <dgm:t>
        <a:bodyPr/>
        <a:lstStyle/>
        <a:p>
          <a:pPr>
            <a:defRPr b="1"/>
          </a:pPr>
          <a:r>
            <a:rPr lang="en-US" dirty="0"/>
            <a:t>15:30 – 15:45</a:t>
          </a:r>
        </a:p>
      </dgm:t>
    </dgm:pt>
    <dgm:pt modelId="{B5F49FDB-7EDB-45BD-BA31-ED8DADCE117E}" type="parTrans" cxnId="{FC708A98-2A1E-4E6A-9FE8-43BE20C334FF}">
      <dgm:prSet/>
      <dgm:spPr/>
      <dgm:t>
        <a:bodyPr/>
        <a:lstStyle/>
        <a:p>
          <a:endParaRPr lang="en-US"/>
        </a:p>
      </dgm:t>
    </dgm:pt>
    <dgm:pt modelId="{40392CFA-CCEA-42D3-ACFD-16F36E44345B}" type="sibTrans" cxnId="{FC708A98-2A1E-4E6A-9FE8-43BE20C334FF}">
      <dgm:prSet/>
      <dgm:spPr/>
      <dgm:t>
        <a:bodyPr/>
        <a:lstStyle/>
        <a:p>
          <a:endParaRPr lang="en-US"/>
        </a:p>
      </dgm:t>
    </dgm:pt>
    <dgm:pt modelId="{BC058144-3094-4FC1-ACCE-165A46E3D4CB}">
      <dgm:prSet/>
      <dgm:spPr/>
      <dgm:t>
        <a:bodyPr/>
        <a:lstStyle/>
        <a:p>
          <a:r>
            <a:rPr lang="en-US" dirty="0"/>
            <a:t>Further AWS services</a:t>
          </a:r>
        </a:p>
      </dgm:t>
    </dgm:pt>
    <dgm:pt modelId="{6E6694F4-02AD-44DC-B239-84AFCAE602CD}" type="parTrans" cxnId="{E0D15FC6-51E3-4686-A73F-1F5D284EDBE0}">
      <dgm:prSet/>
      <dgm:spPr/>
      <dgm:t>
        <a:bodyPr/>
        <a:lstStyle/>
        <a:p>
          <a:endParaRPr lang="en-US"/>
        </a:p>
      </dgm:t>
    </dgm:pt>
    <dgm:pt modelId="{354BE681-B648-46E4-BC24-3600952088A4}" type="sibTrans" cxnId="{E0D15FC6-51E3-4686-A73F-1F5D284EDBE0}">
      <dgm:prSet/>
      <dgm:spPr/>
      <dgm:t>
        <a:bodyPr/>
        <a:lstStyle/>
        <a:p>
          <a:endParaRPr lang="en-US"/>
        </a:p>
      </dgm:t>
    </dgm:pt>
    <dgm:pt modelId="{B6102D53-0B77-4A6E-BC11-60C8ACB92086}">
      <dgm:prSet/>
      <dgm:spPr/>
      <dgm:t>
        <a:bodyPr/>
        <a:lstStyle/>
        <a:p>
          <a:pPr>
            <a:defRPr b="1"/>
          </a:pPr>
          <a:r>
            <a:rPr lang="en-US" dirty="0"/>
            <a:t>15:45 – 16:00</a:t>
          </a:r>
        </a:p>
      </dgm:t>
    </dgm:pt>
    <dgm:pt modelId="{567CDF19-B262-4ECC-AECA-8A3DDD8B8C3F}" type="parTrans" cxnId="{A037B7C1-7C82-44C8-A20F-29B2DF718535}">
      <dgm:prSet/>
      <dgm:spPr/>
      <dgm:t>
        <a:bodyPr/>
        <a:lstStyle/>
        <a:p>
          <a:endParaRPr lang="en-US"/>
        </a:p>
      </dgm:t>
    </dgm:pt>
    <dgm:pt modelId="{663D0A69-415E-4A65-BAA9-E2CBA205DB25}" type="sibTrans" cxnId="{A037B7C1-7C82-44C8-A20F-29B2DF718535}">
      <dgm:prSet/>
      <dgm:spPr/>
      <dgm:t>
        <a:bodyPr/>
        <a:lstStyle/>
        <a:p>
          <a:endParaRPr lang="en-US"/>
        </a:p>
      </dgm:t>
    </dgm:pt>
    <dgm:pt modelId="{1F387FAB-1B24-4835-A9C3-3D7E52565232}">
      <dgm:prSet/>
      <dgm:spPr/>
      <dgm:t>
        <a:bodyPr/>
        <a:lstStyle/>
        <a:p>
          <a:r>
            <a:rPr lang="en-US" dirty="0"/>
            <a:t>Summary and feedback</a:t>
          </a:r>
        </a:p>
      </dgm:t>
    </dgm:pt>
    <dgm:pt modelId="{93ACC080-EFBB-4BAB-8A41-1FA75D726ADF}" type="parTrans" cxnId="{7B4D767B-17ED-45C7-B5BB-8D192B2FE4E4}">
      <dgm:prSet/>
      <dgm:spPr/>
      <dgm:t>
        <a:bodyPr/>
        <a:lstStyle/>
        <a:p>
          <a:endParaRPr lang="en-US"/>
        </a:p>
      </dgm:t>
    </dgm:pt>
    <dgm:pt modelId="{3125D7F7-A0FF-4BA9-9DB2-26AEE49CEA5E}" type="sibTrans" cxnId="{7B4D767B-17ED-45C7-B5BB-8D192B2FE4E4}">
      <dgm:prSet/>
      <dgm:spPr/>
      <dgm:t>
        <a:bodyPr/>
        <a:lstStyle/>
        <a:p>
          <a:endParaRPr lang="en-US"/>
        </a:p>
      </dgm:t>
    </dgm:pt>
    <dgm:pt modelId="{FF5D72E9-4206-47F8-BFD5-59FF312368A5}" type="pres">
      <dgm:prSet presAssocID="{0F6E8184-6640-4F09-A527-8D3861FEAF58}" presName="root" presStyleCnt="0">
        <dgm:presLayoutVars>
          <dgm:chMax/>
          <dgm:chPref/>
          <dgm:animLvl val="lvl"/>
        </dgm:presLayoutVars>
      </dgm:prSet>
      <dgm:spPr/>
    </dgm:pt>
    <dgm:pt modelId="{D166CB41-7290-41DA-AA8D-D131503C488D}" type="pres">
      <dgm:prSet presAssocID="{0F6E8184-6640-4F09-A527-8D3861FEAF58}" presName="divider" presStyleLbl="fgAcc1" presStyleIdx="0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B89048E-4004-41BA-82E1-C11C18601907}" type="pres">
      <dgm:prSet presAssocID="{0F6E8184-6640-4F09-A527-8D3861FEAF58}" presName="nodes" presStyleCnt="0">
        <dgm:presLayoutVars>
          <dgm:chMax/>
          <dgm:chPref/>
          <dgm:animLvl val="lvl"/>
        </dgm:presLayoutVars>
      </dgm:prSet>
      <dgm:spPr/>
    </dgm:pt>
    <dgm:pt modelId="{670A6668-A681-41C9-A44B-045D5D2A6F31}" type="pres">
      <dgm:prSet presAssocID="{D667BA63-B818-4CAA-A737-FBEB4421EC00}" presName="composite" presStyleCnt="0"/>
      <dgm:spPr/>
    </dgm:pt>
    <dgm:pt modelId="{0B2821A8-A610-47B8-AB80-534B1D86B5A5}" type="pres">
      <dgm:prSet presAssocID="{D667BA63-B818-4CAA-A737-FBEB4421EC00}" presName="ConnectorPoint" presStyleLbl="lnNode1" presStyleIdx="0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428031C2-DCD5-427C-AFC7-6114F2C1AEDD}" type="pres">
      <dgm:prSet presAssocID="{D667BA63-B818-4CAA-A737-FBEB4421EC00}" presName="DropPinPlaceHolder" presStyleCnt="0"/>
      <dgm:spPr/>
    </dgm:pt>
    <dgm:pt modelId="{6902DED8-C73A-4D34-AB67-9C847EA1A550}" type="pres">
      <dgm:prSet presAssocID="{D667BA63-B818-4CAA-A737-FBEB4421EC00}" presName="DropPin" presStyleLbl="alignNode1" presStyleIdx="0" presStyleCnt="8"/>
      <dgm:spPr/>
    </dgm:pt>
    <dgm:pt modelId="{15A6C02A-D850-4C7F-952A-EEAEC0453674}" type="pres">
      <dgm:prSet presAssocID="{D667BA63-B818-4CAA-A737-FBEB4421EC00}" presName="Ellipse" presStyleLbl="fgAcc1" presStyleIdx="1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712F26D3-EBD6-46BF-BE48-FFB520EDFA08}" type="pres">
      <dgm:prSet presAssocID="{D667BA63-B818-4CAA-A737-FBEB4421EC00}" presName="L2TextContainer" presStyleLbl="revTx" presStyleIdx="0" presStyleCnt="16">
        <dgm:presLayoutVars>
          <dgm:bulletEnabled val="1"/>
        </dgm:presLayoutVars>
      </dgm:prSet>
      <dgm:spPr/>
    </dgm:pt>
    <dgm:pt modelId="{809182C7-5D29-4345-820D-5D8CC5985691}" type="pres">
      <dgm:prSet presAssocID="{D667BA63-B818-4CAA-A737-FBEB4421EC00}" presName="L1TextContainer" presStyleLbl="revTx" presStyleIdx="1" presStyleCnt="16">
        <dgm:presLayoutVars>
          <dgm:chMax val="1"/>
          <dgm:chPref val="1"/>
          <dgm:bulletEnabled val="1"/>
        </dgm:presLayoutVars>
      </dgm:prSet>
      <dgm:spPr/>
    </dgm:pt>
    <dgm:pt modelId="{1701025A-0A6E-407D-B675-E17549362622}" type="pres">
      <dgm:prSet presAssocID="{D667BA63-B818-4CAA-A737-FBEB4421EC00}" presName="ConnectLine" presStyleLbl="sibTrans1D1" presStyleIdx="0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48665EF-90EE-46B4-8617-A6B19B342311}" type="pres">
      <dgm:prSet presAssocID="{D667BA63-B818-4CAA-A737-FBEB4421EC00}" presName="EmptyPlaceHolder" presStyleCnt="0"/>
      <dgm:spPr/>
    </dgm:pt>
    <dgm:pt modelId="{77DA094C-732A-4F46-8EC0-E380460ED77D}" type="pres">
      <dgm:prSet presAssocID="{0C387DFB-2BCA-4760-8060-F939FF8F231D}" presName="spaceBetweenRectangles" presStyleCnt="0"/>
      <dgm:spPr/>
    </dgm:pt>
    <dgm:pt modelId="{6B73880B-9A8E-4057-A27A-87AD81884ECA}" type="pres">
      <dgm:prSet presAssocID="{99964707-1C2B-46E7-BD29-3F9C4DCD0F40}" presName="composite" presStyleCnt="0"/>
      <dgm:spPr/>
    </dgm:pt>
    <dgm:pt modelId="{C230DC0B-F43F-4609-B186-9447ECB497D2}" type="pres">
      <dgm:prSet presAssocID="{99964707-1C2B-46E7-BD29-3F9C4DCD0F40}" presName="ConnectorPoint" presStyleLbl="lnNode1" presStyleIdx="1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D847D88-2F91-4724-B950-440BD5A85FF2}" type="pres">
      <dgm:prSet presAssocID="{99964707-1C2B-46E7-BD29-3F9C4DCD0F40}" presName="DropPinPlaceHolder" presStyleCnt="0"/>
      <dgm:spPr/>
    </dgm:pt>
    <dgm:pt modelId="{C14D7BCD-7938-47CD-B81E-C577CC317BB7}" type="pres">
      <dgm:prSet presAssocID="{99964707-1C2B-46E7-BD29-3F9C4DCD0F40}" presName="DropPin" presStyleLbl="alignNode1" presStyleIdx="1" presStyleCnt="8"/>
      <dgm:spPr/>
    </dgm:pt>
    <dgm:pt modelId="{EC594FF8-4D43-4E89-8872-E1DE2E73FC2E}" type="pres">
      <dgm:prSet presAssocID="{99964707-1C2B-46E7-BD29-3F9C4DCD0F40}" presName="Ellipse" presStyleLbl="fgAcc1" presStyleIdx="2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AC1F416-285E-4465-81C2-E6DA616BEC2D}" type="pres">
      <dgm:prSet presAssocID="{99964707-1C2B-46E7-BD29-3F9C4DCD0F40}" presName="L2TextContainer" presStyleLbl="revTx" presStyleIdx="2" presStyleCnt="16">
        <dgm:presLayoutVars>
          <dgm:bulletEnabled val="1"/>
        </dgm:presLayoutVars>
      </dgm:prSet>
      <dgm:spPr/>
    </dgm:pt>
    <dgm:pt modelId="{DC47BB45-3933-4FB9-9769-530D59DDFB1B}" type="pres">
      <dgm:prSet presAssocID="{99964707-1C2B-46E7-BD29-3F9C4DCD0F40}" presName="L1TextContainer" presStyleLbl="revTx" presStyleIdx="3" presStyleCnt="16">
        <dgm:presLayoutVars>
          <dgm:chMax val="1"/>
          <dgm:chPref val="1"/>
          <dgm:bulletEnabled val="1"/>
        </dgm:presLayoutVars>
      </dgm:prSet>
      <dgm:spPr/>
    </dgm:pt>
    <dgm:pt modelId="{3B20E28C-74E1-482A-BB3C-7538FF984CFC}" type="pres">
      <dgm:prSet presAssocID="{99964707-1C2B-46E7-BD29-3F9C4DCD0F40}" presName="ConnectLine" presStyleLbl="sibTrans1D1" presStyleIdx="1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0528DCC-D490-44BD-BCAC-257273D06595}" type="pres">
      <dgm:prSet presAssocID="{99964707-1C2B-46E7-BD29-3F9C4DCD0F40}" presName="EmptyPlaceHolder" presStyleCnt="0"/>
      <dgm:spPr/>
    </dgm:pt>
    <dgm:pt modelId="{2CCB0579-831F-489C-8460-E2696D56D2BD}" type="pres">
      <dgm:prSet presAssocID="{96B47E33-D9BD-45E9-B9B8-4FEE05B2C037}" presName="spaceBetweenRectangles" presStyleCnt="0"/>
      <dgm:spPr/>
    </dgm:pt>
    <dgm:pt modelId="{D9988B74-5A49-4BB6-8447-3AD1EDC9E780}" type="pres">
      <dgm:prSet presAssocID="{4CA74B4D-450A-4B1A-AF65-713E4E88A15A}" presName="composite" presStyleCnt="0"/>
      <dgm:spPr/>
    </dgm:pt>
    <dgm:pt modelId="{3F575196-1C2E-4D18-85FB-0257082CDD81}" type="pres">
      <dgm:prSet presAssocID="{4CA74B4D-450A-4B1A-AF65-713E4E88A15A}" presName="ConnectorPoint" presStyleLbl="lnNode1" presStyleIdx="2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FD12D45F-0FDD-486B-8508-6691FD5B35A9}" type="pres">
      <dgm:prSet presAssocID="{4CA74B4D-450A-4B1A-AF65-713E4E88A15A}" presName="DropPinPlaceHolder" presStyleCnt="0"/>
      <dgm:spPr/>
    </dgm:pt>
    <dgm:pt modelId="{64C4EA93-912B-4541-BDDF-FC1C5210286D}" type="pres">
      <dgm:prSet presAssocID="{4CA74B4D-450A-4B1A-AF65-713E4E88A15A}" presName="DropPin" presStyleLbl="alignNode1" presStyleIdx="2" presStyleCnt="8"/>
      <dgm:spPr/>
    </dgm:pt>
    <dgm:pt modelId="{44049E3C-BECB-4DB2-B28A-8642C51BC929}" type="pres">
      <dgm:prSet presAssocID="{4CA74B4D-450A-4B1A-AF65-713E4E88A15A}" presName="Ellipse" presStyleLbl="fgAcc1" presStyleIdx="3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9C9B1779-4CBC-4F61-B0C8-219F9C79FB14}" type="pres">
      <dgm:prSet presAssocID="{4CA74B4D-450A-4B1A-AF65-713E4E88A15A}" presName="L2TextContainer" presStyleLbl="revTx" presStyleIdx="4" presStyleCnt="16">
        <dgm:presLayoutVars>
          <dgm:bulletEnabled val="1"/>
        </dgm:presLayoutVars>
      </dgm:prSet>
      <dgm:spPr/>
    </dgm:pt>
    <dgm:pt modelId="{56317820-7051-4C8F-B774-D5D1CDE573BE}" type="pres">
      <dgm:prSet presAssocID="{4CA74B4D-450A-4B1A-AF65-713E4E88A15A}" presName="L1TextContainer" presStyleLbl="revTx" presStyleIdx="5" presStyleCnt="16">
        <dgm:presLayoutVars>
          <dgm:chMax val="1"/>
          <dgm:chPref val="1"/>
          <dgm:bulletEnabled val="1"/>
        </dgm:presLayoutVars>
      </dgm:prSet>
      <dgm:spPr/>
    </dgm:pt>
    <dgm:pt modelId="{57FA1EC9-B160-4FCF-96F9-BA4DBB3FD452}" type="pres">
      <dgm:prSet presAssocID="{4CA74B4D-450A-4B1A-AF65-713E4E88A15A}" presName="ConnectLine" presStyleLbl="sibTrans1D1" presStyleIdx="2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997B513-EB53-4F3F-A2E8-FB6EB50CD6B7}" type="pres">
      <dgm:prSet presAssocID="{4CA74B4D-450A-4B1A-AF65-713E4E88A15A}" presName="EmptyPlaceHolder" presStyleCnt="0"/>
      <dgm:spPr/>
    </dgm:pt>
    <dgm:pt modelId="{D57DB9B6-931F-439D-87B6-078C826C3F78}" type="pres">
      <dgm:prSet presAssocID="{D44480AC-D7F1-4B5C-B22D-7F844B1DBE2E}" presName="spaceBetweenRectangles" presStyleCnt="0"/>
      <dgm:spPr/>
    </dgm:pt>
    <dgm:pt modelId="{EFAE615A-07C9-415E-8E2E-89F8EA07DF71}" type="pres">
      <dgm:prSet presAssocID="{6CE3F52C-BE2C-4084-9060-714D02F35C17}" presName="composite" presStyleCnt="0"/>
      <dgm:spPr/>
    </dgm:pt>
    <dgm:pt modelId="{56EABFB8-7E01-40DB-87A2-15CEDE9FEAC3}" type="pres">
      <dgm:prSet presAssocID="{6CE3F52C-BE2C-4084-9060-714D02F35C17}" presName="ConnectorPoint" presStyleLbl="lnNode1" presStyleIdx="3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49E7790-DB76-48E7-A7C1-CB722FCD9EA7}" type="pres">
      <dgm:prSet presAssocID="{6CE3F52C-BE2C-4084-9060-714D02F35C17}" presName="DropPinPlaceHolder" presStyleCnt="0"/>
      <dgm:spPr/>
    </dgm:pt>
    <dgm:pt modelId="{09FAACE4-6010-4794-BF0E-266FFE5B7F7F}" type="pres">
      <dgm:prSet presAssocID="{6CE3F52C-BE2C-4084-9060-714D02F35C17}" presName="DropPin" presStyleLbl="alignNode1" presStyleIdx="3" presStyleCnt="8"/>
      <dgm:spPr/>
    </dgm:pt>
    <dgm:pt modelId="{F96D1042-3AFA-422E-B6BA-D48BAE0C9A81}" type="pres">
      <dgm:prSet presAssocID="{6CE3F52C-BE2C-4084-9060-714D02F35C17}" presName="Ellipse" presStyleLbl="fgAcc1" presStyleIdx="4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BDAA938F-0A32-487A-990D-5F62262C1CA2}" type="pres">
      <dgm:prSet presAssocID="{6CE3F52C-BE2C-4084-9060-714D02F35C17}" presName="L2TextContainer" presStyleLbl="revTx" presStyleIdx="6" presStyleCnt="16">
        <dgm:presLayoutVars>
          <dgm:bulletEnabled val="1"/>
        </dgm:presLayoutVars>
      </dgm:prSet>
      <dgm:spPr/>
    </dgm:pt>
    <dgm:pt modelId="{4C31140A-22F1-4344-8587-C4C16122DC8E}" type="pres">
      <dgm:prSet presAssocID="{6CE3F52C-BE2C-4084-9060-714D02F35C17}" presName="L1TextContainer" presStyleLbl="revTx" presStyleIdx="7" presStyleCnt="16">
        <dgm:presLayoutVars>
          <dgm:chMax val="1"/>
          <dgm:chPref val="1"/>
          <dgm:bulletEnabled val="1"/>
        </dgm:presLayoutVars>
      </dgm:prSet>
      <dgm:spPr/>
    </dgm:pt>
    <dgm:pt modelId="{22E89C9D-CC6D-4479-9C21-916A59419D4A}" type="pres">
      <dgm:prSet presAssocID="{6CE3F52C-BE2C-4084-9060-714D02F35C17}" presName="ConnectLine" presStyleLbl="sibTrans1D1" presStyleIdx="3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05C823F-50B7-44F8-ACF8-2A1B498214ED}" type="pres">
      <dgm:prSet presAssocID="{6CE3F52C-BE2C-4084-9060-714D02F35C17}" presName="EmptyPlaceHolder" presStyleCnt="0"/>
      <dgm:spPr/>
    </dgm:pt>
    <dgm:pt modelId="{2347B370-4B37-41E4-8AFD-329F87D6E397}" type="pres">
      <dgm:prSet presAssocID="{3245B5C7-74FE-408D-971E-C8C331F96863}" presName="spaceBetweenRectangles" presStyleCnt="0"/>
      <dgm:spPr/>
    </dgm:pt>
    <dgm:pt modelId="{7D3B6AF8-B52C-42D7-8AA8-13F638DEE77B}" type="pres">
      <dgm:prSet presAssocID="{63166B40-F97B-4A3E-9550-0C4884A88B7C}" presName="composite" presStyleCnt="0"/>
      <dgm:spPr/>
    </dgm:pt>
    <dgm:pt modelId="{19A820BD-17C7-43DC-8F1D-88A540590293}" type="pres">
      <dgm:prSet presAssocID="{63166B40-F97B-4A3E-9550-0C4884A88B7C}" presName="ConnectorPoint" presStyleLbl="lnNode1" presStyleIdx="4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67748B3-F4F2-42E7-B067-207ED4BD8F02}" type="pres">
      <dgm:prSet presAssocID="{63166B40-F97B-4A3E-9550-0C4884A88B7C}" presName="DropPinPlaceHolder" presStyleCnt="0"/>
      <dgm:spPr/>
    </dgm:pt>
    <dgm:pt modelId="{3B7ED767-BE8C-47CE-99E5-DA5DA5380EC7}" type="pres">
      <dgm:prSet presAssocID="{63166B40-F97B-4A3E-9550-0C4884A88B7C}" presName="DropPin" presStyleLbl="alignNode1" presStyleIdx="4" presStyleCnt="8"/>
      <dgm:spPr/>
    </dgm:pt>
    <dgm:pt modelId="{22010698-79D3-4BB6-B573-834EA4A816AD}" type="pres">
      <dgm:prSet presAssocID="{63166B40-F97B-4A3E-9550-0C4884A88B7C}" presName="Ellipse" presStyleLbl="fgAcc1" presStyleIdx="5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ED2D503C-6CAD-494E-9C83-AD5856E177A6}" type="pres">
      <dgm:prSet presAssocID="{63166B40-F97B-4A3E-9550-0C4884A88B7C}" presName="L2TextContainer" presStyleLbl="revTx" presStyleIdx="8" presStyleCnt="16">
        <dgm:presLayoutVars>
          <dgm:bulletEnabled val="1"/>
        </dgm:presLayoutVars>
      </dgm:prSet>
      <dgm:spPr/>
    </dgm:pt>
    <dgm:pt modelId="{7A30048A-E77A-486B-BDBF-F186824D6F34}" type="pres">
      <dgm:prSet presAssocID="{63166B40-F97B-4A3E-9550-0C4884A88B7C}" presName="L1TextContainer" presStyleLbl="revTx" presStyleIdx="9" presStyleCnt="16">
        <dgm:presLayoutVars>
          <dgm:chMax val="1"/>
          <dgm:chPref val="1"/>
          <dgm:bulletEnabled val="1"/>
        </dgm:presLayoutVars>
      </dgm:prSet>
      <dgm:spPr/>
    </dgm:pt>
    <dgm:pt modelId="{11BC5BF5-869A-4FFD-84E0-391FF203AEB4}" type="pres">
      <dgm:prSet presAssocID="{63166B40-F97B-4A3E-9550-0C4884A88B7C}" presName="ConnectLine" presStyleLbl="sibTrans1D1" presStyleIdx="4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B8848F47-BB13-4AF3-86FA-1A4FE77BCA33}" type="pres">
      <dgm:prSet presAssocID="{63166B40-F97B-4A3E-9550-0C4884A88B7C}" presName="EmptyPlaceHolder" presStyleCnt="0"/>
      <dgm:spPr/>
    </dgm:pt>
    <dgm:pt modelId="{CCD14902-AB88-476A-88EA-56E966B2D3B0}" type="pres">
      <dgm:prSet presAssocID="{B6525E1B-CBCD-4D8F-A902-49ED500CF6C8}" presName="spaceBetweenRectangles" presStyleCnt="0"/>
      <dgm:spPr/>
    </dgm:pt>
    <dgm:pt modelId="{FFE6CCCC-477E-4996-8455-C2AE57D31E80}" type="pres">
      <dgm:prSet presAssocID="{8EF7EAAB-C81C-4CF5-9AE6-1D68A5CDCCDA}" presName="composite" presStyleCnt="0"/>
      <dgm:spPr/>
    </dgm:pt>
    <dgm:pt modelId="{2142D96E-D8BC-4017-AEDB-336A1B0BF928}" type="pres">
      <dgm:prSet presAssocID="{8EF7EAAB-C81C-4CF5-9AE6-1D68A5CDCCDA}" presName="ConnectorPoint" presStyleLbl="lnNode1" presStyleIdx="5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5B83CB3-E2A0-4F4F-99EF-17F12D009E7D}" type="pres">
      <dgm:prSet presAssocID="{8EF7EAAB-C81C-4CF5-9AE6-1D68A5CDCCDA}" presName="DropPinPlaceHolder" presStyleCnt="0"/>
      <dgm:spPr/>
    </dgm:pt>
    <dgm:pt modelId="{4C813C25-100F-4D2E-8A5B-921773842EAD}" type="pres">
      <dgm:prSet presAssocID="{8EF7EAAB-C81C-4CF5-9AE6-1D68A5CDCCDA}" presName="DropPin" presStyleLbl="alignNode1" presStyleIdx="5" presStyleCnt="8"/>
      <dgm:spPr/>
    </dgm:pt>
    <dgm:pt modelId="{9C805A14-29E3-4C5B-B644-2A367A70C92B}" type="pres">
      <dgm:prSet presAssocID="{8EF7EAAB-C81C-4CF5-9AE6-1D68A5CDCCDA}" presName="Ellipse" presStyleLbl="fgAcc1" presStyleIdx="6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AC6D2B1A-A38D-4654-B41E-651010449319}" type="pres">
      <dgm:prSet presAssocID="{8EF7EAAB-C81C-4CF5-9AE6-1D68A5CDCCDA}" presName="L2TextContainer" presStyleLbl="revTx" presStyleIdx="10" presStyleCnt="16">
        <dgm:presLayoutVars>
          <dgm:bulletEnabled val="1"/>
        </dgm:presLayoutVars>
      </dgm:prSet>
      <dgm:spPr/>
    </dgm:pt>
    <dgm:pt modelId="{3FECDF7A-6F6D-4F5C-A376-6813A42E5DCD}" type="pres">
      <dgm:prSet presAssocID="{8EF7EAAB-C81C-4CF5-9AE6-1D68A5CDCCDA}" presName="L1TextContainer" presStyleLbl="revTx" presStyleIdx="11" presStyleCnt="16">
        <dgm:presLayoutVars>
          <dgm:chMax val="1"/>
          <dgm:chPref val="1"/>
          <dgm:bulletEnabled val="1"/>
        </dgm:presLayoutVars>
      </dgm:prSet>
      <dgm:spPr/>
    </dgm:pt>
    <dgm:pt modelId="{13FF83DE-76E7-488C-ACBD-6AA20FB394EF}" type="pres">
      <dgm:prSet presAssocID="{8EF7EAAB-C81C-4CF5-9AE6-1D68A5CDCCDA}" presName="ConnectLine" presStyleLbl="sibTrans1D1" presStyleIdx="5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B21A340-0088-4269-BC50-D85F1253B0C4}" type="pres">
      <dgm:prSet presAssocID="{8EF7EAAB-C81C-4CF5-9AE6-1D68A5CDCCDA}" presName="EmptyPlaceHolder" presStyleCnt="0"/>
      <dgm:spPr/>
    </dgm:pt>
    <dgm:pt modelId="{40C457B0-E81B-4E88-B198-8B3B8F400C5E}" type="pres">
      <dgm:prSet presAssocID="{24555A22-1A52-4D2F-8722-5BF711876432}" presName="spaceBetweenRectangles" presStyleCnt="0"/>
      <dgm:spPr/>
    </dgm:pt>
    <dgm:pt modelId="{248A4995-6EAE-4314-AE00-05C66BFF5157}" type="pres">
      <dgm:prSet presAssocID="{29982918-FC04-49A6-B8F6-D6A67B05D36B}" presName="composite" presStyleCnt="0"/>
      <dgm:spPr/>
    </dgm:pt>
    <dgm:pt modelId="{B3C903AD-B91A-4FA1-BFCD-998DBD4B5867}" type="pres">
      <dgm:prSet presAssocID="{29982918-FC04-49A6-B8F6-D6A67B05D36B}" presName="ConnectorPoint" presStyleLbl="lnNode1" presStyleIdx="6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A1D1D91C-A4A7-4B4C-B207-AFFA4B7038DB}" type="pres">
      <dgm:prSet presAssocID="{29982918-FC04-49A6-B8F6-D6A67B05D36B}" presName="DropPinPlaceHolder" presStyleCnt="0"/>
      <dgm:spPr/>
    </dgm:pt>
    <dgm:pt modelId="{EFB80C96-812E-40FD-B857-907A151A3F25}" type="pres">
      <dgm:prSet presAssocID="{29982918-FC04-49A6-B8F6-D6A67B05D36B}" presName="DropPin" presStyleLbl="alignNode1" presStyleIdx="6" presStyleCnt="8"/>
      <dgm:spPr/>
    </dgm:pt>
    <dgm:pt modelId="{9141D117-12E1-4F14-8DC0-7CCBF20452F5}" type="pres">
      <dgm:prSet presAssocID="{29982918-FC04-49A6-B8F6-D6A67B05D36B}" presName="Ellipse" presStyleLbl="fgAcc1" presStyleIdx="7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0393B18E-6175-4317-85D8-AB17270A56B0}" type="pres">
      <dgm:prSet presAssocID="{29982918-FC04-49A6-B8F6-D6A67B05D36B}" presName="L2TextContainer" presStyleLbl="revTx" presStyleIdx="12" presStyleCnt="16">
        <dgm:presLayoutVars>
          <dgm:bulletEnabled val="1"/>
        </dgm:presLayoutVars>
      </dgm:prSet>
      <dgm:spPr/>
    </dgm:pt>
    <dgm:pt modelId="{8CA6550F-66C7-4298-A593-83DA97436E96}" type="pres">
      <dgm:prSet presAssocID="{29982918-FC04-49A6-B8F6-D6A67B05D36B}" presName="L1TextContainer" presStyleLbl="revTx" presStyleIdx="13" presStyleCnt="16">
        <dgm:presLayoutVars>
          <dgm:chMax val="1"/>
          <dgm:chPref val="1"/>
          <dgm:bulletEnabled val="1"/>
        </dgm:presLayoutVars>
      </dgm:prSet>
      <dgm:spPr/>
    </dgm:pt>
    <dgm:pt modelId="{A3B3FACD-0F5C-4C70-B8B3-9765C3BF1891}" type="pres">
      <dgm:prSet presAssocID="{29982918-FC04-49A6-B8F6-D6A67B05D36B}" presName="ConnectLine" presStyleLbl="sibTrans1D1" presStyleIdx="6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D85CF2F-40E1-462E-A0F1-3FCEDCC1D341}" type="pres">
      <dgm:prSet presAssocID="{29982918-FC04-49A6-B8F6-D6A67B05D36B}" presName="EmptyPlaceHolder" presStyleCnt="0"/>
      <dgm:spPr/>
    </dgm:pt>
    <dgm:pt modelId="{47ED9FE6-69EC-4591-97D4-A012D83F336B}" type="pres">
      <dgm:prSet presAssocID="{40392CFA-CCEA-42D3-ACFD-16F36E44345B}" presName="spaceBetweenRectangles" presStyleCnt="0"/>
      <dgm:spPr/>
    </dgm:pt>
    <dgm:pt modelId="{87CFB10B-39DD-4BFC-BDD1-64623C4235CE}" type="pres">
      <dgm:prSet presAssocID="{B6102D53-0B77-4A6E-BC11-60C8ACB92086}" presName="composite" presStyleCnt="0"/>
      <dgm:spPr/>
    </dgm:pt>
    <dgm:pt modelId="{D57118BA-C8CE-4E1E-9BD2-A602B5C2A75E}" type="pres">
      <dgm:prSet presAssocID="{B6102D53-0B77-4A6E-BC11-60C8ACB92086}" presName="ConnectorPoint" presStyleLbl="lnNode1" presStyleIdx="7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9DE5837-CA3E-4A33-9BCD-7C8844E2FBAB}" type="pres">
      <dgm:prSet presAssocID="{B6102D53-0B77-4A6E-BC11-60C8ACB92086}" presName="DropPinPlaceHolder" presStyleCnt="0"/>
      <dgm:spPr/>
    </dgm:pt>
    <dgm:pt modelId="{3B3DC42F-8EE3-48F8-A1BA-B1253894B53E}" type="pres">
      <dgm:prSet presAssocID="{B6102D53-0B77-4A6E-BC11-60C8ACB92086}" presName="DropPin" presStyleLbl="alignNode1" presStyleIdx="7" presStyleCnt="8"/>
      <dgm:spPr/>
    </dgm:pt>
    <dgm:pt modelId="{A2895D17-D615-47C3-8069-B4555F769CF3}" type="pres">
      <dgm:prSet presAssocID="{B6102D53-0B77-4A6E-BC11-60C8ACB92086}" presName="Ellipse" presStyleLbl="fgAcc1" presStyleIdx="8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82EB940-4574-4C17-BBA2-DA174524E1D3}" type="pres">
      <dgm:prSet presAssocID="{B6102D53-0B77-4A6E-BC11-60C8ACB92086}" presName="L2TextContainer" presStyleLbl="revTx" presStyleIdx="14" presStyleCnt="16">
        <dgm:presLayoutVars>
          <dgm:bulletEnabled val="1"/>
        </dgm:presLayoutVars>
      </dgm:prSet>
      <dgm:spPr/>
    </dgm:pt>
    <dgm:pt modelId="{00F72544-0650-472A-9D53-F35F00F53BF5}" type="pres">
      <dgm:prSet presAssocID="{B6102D53-0B77-4A6E-BC11-60C8ACB92086}" presName="L1TextContainer" presStyleLbl="revTx" presStyleIdx="15" presStyleCnt="16">
        <dgm:presLayoutVars>
          <dgm:chMax val="1"/>
          <dgm:chPref val="1"/>
          <dgm:bulletEnabled val="1"/>
        </dgm:presLayoutVars>
      </dgm:prSet>
      <dgm:spPr/>
    </dgm:pt>
    <dgm:pt modelId="{12D6D719-982D-47B7-86E1-42E7F182918D}" type="pres">
      <dgm:prSet presAssocID="{B6102D53-0B77-4A6E-BC11-60C8ACB92086}" presName="ConnectLine" presStyleLbl="sibTrans1D1" presStyleIdx="7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5E35A71C-2E85-465B-82C0-F3502B93120D}" type="pres">
      <dgm:prSet presAssocID="{B6102D53-0B77-4A6E-BC11-60C8ACB92086}" presName="EmptyPlaceHolder" presStyleCnt="0"/>
      <dgm:spPr/>
    </dgm:pt>
  </dgm:ptLst>
  <dgm:cxnLst>
    <dgm:cxn modelId="{8476E705-86EF-47EE-8CF4-00F6AED77F7D}" type="presOf" srcId="{8EF7EAAB-C81C-4CF5-9AE6-1D68A5CDCCDA}" destId="{3FECDF7A-6F6D-4F5C-A376-6813A42E5DCD}" srcOrd="0" destOrd="0" presId="urn:microsoft.com/office/officeart/2017/3/layout/DropPinTimeline"/>
    <dgm:cxn modelId="{93E9BB17-A082-43A4-8F8F-3122CF39F9F3}" srcId="{0F6E8184-6640-4F09-A527-8D3861FEAF58}" destId="{4CA74B4D-450A-4B1A-AF65-713E4E88A15A}" srcOrd="2" destOrd="0" parTransId="{C15D8AA6-4717-4CE1-A1AB-67E9464F5147}" sibTransId="{D44480AC-D7F1-4B5C-B22D-7F844B1DBE2E}"/>
    <dgm:cxn modelId="{610CBE18-E210-4030-931A-33732F75089A}" type="presOf" srcId="{6CE3F52C-BE2C-4084-9060-714D02F35C17}" destId="{4C31140A-22F1-4344-8587-C4C16122DC8E}" srcOrd="0" destOrd="0" presId="urn:microsoft.com/office/officeart/2017/3/layout/DropPinTimeline"/>
    <dgm:cxn modelId="{5F4BB421-FF75-44CB-B5B2-8E97E3E67FF9}" srcId="{8EF7EAAB-C81C-4CF5-9AE6-1D68A5CDCCDA}" destId="{8E1CE21D-2541-4063-8530-04506542ECAC}" srcOrd="0" destOrd="0" parTransId="{6498FE70-1C23-45CA-B01D-EE0F0D4FCABA}" sibTransId="{512AEAF7-E06C-4913-BE4F-EDB176C4E723}"/>
    <dgm:cxn modelId="{EA9CA228-8179-4BAC-8AA4-7C5325D17062}" srcId="{63166B40-F97B-4A3E-9550-0C4884A88B7C}" destId="{0C45C7CB-D88E-44C2-832B-D4C11DCFC816}" srcOrd="0" destOrd="0" parTransId="{102C11CD-E0C0-4CD6-83D6-02CE2DA0F10E}" sibTransId="{3B14A5A0-4FDB-4243-B588-599EF7DA575D}"/>
    <dgm:cxn modelId="{DC700D2C-E89D-460E-840A-BAB6CF68599B}" type="presOf" srcId="{1F387FAB-1B24-4835-A9C3-3D7E52565232}" destId="{D82EB940-4574-4C17-BBA2-DA174524E1D3}" srcOrd="0" destOrd="0" presId="urn:microsoft.com/office/officeart/2017/3/layout/DropPinTimeline"/>
    <dgm:cxn modelId="{E21ACB2D-F9C2-41EE-AD02-8C92AD5F731F}" type="presOf" srcId="{7B17E182-27DA-4472-8656-1596786DD0D9}" destId="{9C9B1779-4CBC-4F61-B0C8-219F9C79FB14}" srcOrd="0" destOrd="0" presId="urn:microsoft.com/office/officeart/2017/3/layout/DropPinTimeline"/>
    <dgm:cxn modelId="{678AC83C-8CA2-496A-AE8D-0494D2E3F67A}" srcId="{0F6E8184-6640-4F09-A527-8D3861FEAF58}" destId="{63166B40-F97B-4A3E-9550-0C4884A88B7C}" srcOrd="4" destOrd="0" parTransId="{4106CDC8-F9D8-4B2B-B84D-8B644D1F715D}" sibTransId="{B6525E1B-CBCD-4D8F-A902-49ED500CF6C8}"/>
    <dgm:cxn modelId="{0BA1EF40-AEBB-402D-B847-C2DB94ACAF30}" srcId="{0F6E8184-6640-4F09-A527-8D3861FEAF58}" destId="{8EF7EAAB-C81C-4CF5-9AE6-1D68A5CDCCDA}" srcOrd="5" destOrd="0" parTransId="{1B00E632-6B67-4215-9369-415852D72729}" sibTransId="{24555A22-1A52-4D2F-8722-5BF711876432}"/>
    <dgm:cxn modelId="{1FEAEB5F-724C-4206-ADA3-B9DCE3772C4B}" type="presOf" srcId="{63166B40-F97B-4A3E-9550-0C4884A88B7C}" destId="{7A30048A-E77A-486B-BDBF-F186824D6F34}" srcOrd="0" destOrd="0" presId="urn:microsoft.com/office/officeart/2017/3/layout/DropPinTimeline"/>
    <dgm:cxn modelId="{B2060745-419A-4EBE-ACEF-1A4BCED5466B}" type="presOf" srcId="{4CA74B4D-450A-4B1A-AF65-713E4E88A15A}" destId="{56317820-7051-4C8F-B774-D5D1CDE573BE}" srcOrd="0" destOrd="0" presId="urn:microsoft.com/office/officeart/2017/3/layout/DropPinTimeline"/>
    <dgm:cxn modelId="{9F235B45-851B-47DF-9723-24B277B3C735}" type="presOf" srcId="{0C45C7CB-D88E-44C2-832B-D4C11DCFC816}" destId="{ED2D503C-6CAD-494E-9C83-AD5856E177A6}" srcOrd="0" destOrd="0" presId="urn:microsoft.com/office/officeart/2017/3/layout/DropPinTimeline"/>
    <dgm:cxn modelId="{97D0B149-CB52-4785-839C-0958DC6DBBBA}" srcId="{0F6E8184-6640-4F09-A527-8D3861FEAF58}" destId="{D667BA63-B818-4CAA-A737-FBEB4421EC00}" srcOrd="0" destOrd="0" parTransId="{07A20F48-AF29-4EAB-AE7E-DE71EFFC6355}" sibTransId="{0C387DFB-2BCA-4760-8060-F939FF8F231D}"/>
    <dgm:cxn modelId="{535F656C-43EC-4754-92B5-46917171B614}" type="presOf" srcId="{99964707-1C2B-46E7-BD29-3F9C4DCD0F40}" destId="{DC47BB45-3933-4FB9-9769-530D59DDFB1B}" srcOrd="0" destOrd="0" presId="urn:microsoft.com/office/officeart/2017/3/layout/DropPinTimeline"/>
    <dgm:cxn modelId="{C259C84E-BD89-4F85-949F-3959457596E6}" type="presOf" srcId="{D667BA63-B818-4CAA-A737-FBEB4421EC00}" destId="{809182C7-5D29-4345-820D-5D8CC5985691}" srcOrd="0" destOrd="0" presId="urn:microsoft.com/office/officeart/2017/3/layout/DropPinTimeline"/>
    <dgm:cxn modelId="{7B4D767B-17ED-45C7-B5BB-8D192B2FE4E4}" srcId="{B6102D53-0B77-4A6E-BC11-60C8ACB92086}" destId="{1F387FAB-1B24-4835-A9C3-3D7E52565232}" srcOrd="0" destOrd="0" parTransId="{93ACC080-EFBB-4BAB-8A41-1FA75D726ADF}" sibTransId="{3125D7F7-A0FF-4BA9-9DB2-26AEE49CEA5E}"/>
    <dgm:cxn modelId="{62038780-F832-4777-A2F0-240CE43C8E84}" type="presOf" srcId="{7C89D940-5D37-49F9-858D-25BB1E58CF58}" destId="{712F26D3-EBD6-46BF-BE48-FFB520EDFA08}" srcOrd="0" destOrd="0" presId="urn:microsoft.com/office/officeart/2017/3/layout/DropPinTimeline"/>
    <dgm:cxn modelId="{705D0387-E5D0-464F-BB95-2D59B3AD828C}" srcId="{D667BA63-B818-4CAA-A737-FBEB4421EC00}" destId="{7C89D940-5D37-49F9-858D-25BB1E58CF58}" srcOrd="0" destOrd="0" parTransId="{3BF83C38-8C8C-40BB-AA44-333E09578C7F}" sibTransId="{3E84EB8D-FD6F-498F-BED5-9993DE96B127}"/>
    <dgm:cxn modelId="{F19F7D93-F055-4D99-A934-74EFFAC6CDC5}" type="presOf" srcId="{DC59C05E-749D-47C9-864E-D4F1AC863C0D}" destId="{DAC1F416-285E-4465-81C2-E6DA616BEC2D}" srcOrd="0" destOrd="0" presId="urn:microsoft.com/office/officeart/2017/3/layout/DropPinTimeline"/>
    <dgm:cxn modelId="{FC708A98-2A1E-4E6A-9FE8-43BE20C334FF}" srcId="{0F6E8184-6640-4F09-A527-8D3861FEAF58}" destId="{29982918-FC04-49A6-B8F6-D6A67B05D36B}" srcOrd="6" destOrd="0" parTransId="{B5F49FDB-7EDB-45BD-BA31-ED8DADCE117E}" sibTransId="{40392CFA-CCEA-42D3-ACFD-16F36E44345B}"/>
    <dgm:cxn modelId="{91F66B9D-B230-4169-A5ED-8E7050EE964D}" type="presOf" srcId="{BC058144-3094-4FC1-ACCE-165A46E3D4CB}" destId="{0393B18E-6175-4317-85D8-AB17270A56B0}" srcOrd="0" destOrd="0" presId="urn:microsoft.com/office/officeart/2017/3/layout/DropPinTimeline"/>
    <dgm:cxn modelId="{693C8EA0-C50E-459A-AB32-88305630BA72}" type="presOf" srcId="{8E1CE21D-2541-4063-8530-04506542ECAC}" destId="{AC6D2B1A-A38D-4654-B41E-651010449319}" srcOrd="0" destOrd="0" presId="urn:microsoft.com/office/officeart/2017/3/layout/DropPinTimeline"/>
    <dgm:cxn modelId="{BD47F8A5-2FD6-4127-9A86-F57719BC2399}" srcId="{4CA74B4D-450A-4B1A-AF65-713E4E88A15A}" destId="{7B17E182-27DA-4472-8656-1596786DD0D9}" srcOrd="0" destOrd="0" parTransId="{013B19BA-9DF0-4CCB-BEA1-ACAA71895E89}" sibTransId="{536A0CA4-973C-4DA3-A086-417B44A9F35F}"/>
    <dgm:cxn modelId="{A13CFFAD-76C9-4AD1-8B31-DFE7383EDF66}" srcId="{6CE3F52C-BE2C-4084-9060-714D02F35C17}" destId="{06A406EE-B63B-41A3-AF82-00ACDAB169BA}" srcOrd="0" destOrd="0" parTransId="{63214697-1B43-43C6-8664-B9A1C4C799AE}" sibTransId="{9607BFAA-7F31-407E-81C5-33FDD159926F}"/>
    <dgm:cxn modelId="{75EE2DAF-9CB2-433C-BB50-79FCE83EEB87}" type="presOf" srcId="{29982918-FC04-49A6-B8F6-D6A67B05D36B}" destId="{8CA6550F-66C7-4298-A593-83DA97436E96}" srcOrd="0" destOrd="0" presId="urn:microsoft.com/office/officeart/2017/3/layout/DropPinTimeline"/>
    <dgm:cxn modelId="{A037B7C1-7C82-44C8-A20F-29B2DF718535}" srcId="{0F6E8184-6640-4F09-A527-8D3861FEAF58}" destId="{B6102D53-0B77-4A6E-BC11-60C8ACB92086}" srcOrd="7" destOrd="0" parTransId="{567CDF19-B262-4ECC-AECA-8A3DDD8B8C3F}" sibTransId="{663D0A69-415E-4A65-BAA9-E2CBA205DB25}"/>
    <dgm:cxn modelId="{45CAC8C2-7423-471A-BD1F-CD1F7FCE0DEA}" type="presOf" srcId="{06A406EE-B63B-41A3-AF82-00ACDAB169BA}" destId="{BDAA938F-0A32-487A-990D-5F62262C1CA2}" srcOrd="0" destOrd="0" presId="urn:microsoft.com/office/officeart/2017/3/layout/DropPinTimeline"/>
    <dgm:cxn modelId="{E0D15FC6-51E3-4686-A73F-1F5D284EDBE0}" srcId="{29982918-FC04-49A6-B8F6-D6A67B05D36B}" destId="{BC058144-3094-4FC1-ACCE-165A46E3D4CB}" srcOrd="0" destOrd="0" parTransId="{6E6694F4-02AD-44DC-B239-84AFCAE602CD}" sibTransId="{354BE681-B648-46E4-BC24-3600952088A4}"/>
    <dgm:cxn modelId="{92842ADA-4A04-4A0C-AC3C-87A9674E1FF4}" srcId="{0F6E8184-6640-4F09-A527-8D3861FEAF58}" destId="{6CE3F52C-BE2C-4084-9060-714D02F35C17}" srcOrd="3" destOrd="0" parTransId="{1755B2A3-F9B2-43EE-8313-50082B2482D3}" sibTransId="{3245B5C7-74FE-408D-971E-C8C331F96863}"/>
    <dgm:cxn modelId="{F4DB1BEE-2A52-48C2-AADC-D61C626C8DC2}" type="presOf" srcId="{0F6E8184-6640-4F09-A527-8D3861FEAF58}" destId="{FF5D72E9-4206-47F8-BFD5-59FF312368A5}" srcOrd="0" destOrd="0" presId="urn:microsoft.com/office/officeart/2017/3/layout/DropPinTimeline"/>
    <dgm:cxn modelId="{0594C2F0-3C03-4ED4-833B-7305B1E4D0EA}" type="presOf" srcId="{B6102D53-0B77-4A6E-BC11-60C8ACB92086}" destId="{00F72544-0650-472A-9D53-F35F00F53BF5}" srcOrd="0" destOrd="0" presId="urn:microsoft.com/office/officeart/2017/3/layout/DropPinTimeline"/>
    <dgm:cxn modelId="{1D8BCDF8-65CC-4268-98FA-495C381B1A77}" srcId="{99964707-1C2B-46E7-BD29-3F9C4DCD0F40}" destId="{DC59C05E-749D-47C9-864E-D4F1AC863C0D}" srcOrd="0" destOrd="0" parTransId="{C0967635-0FC3-44B9-8D2E-8A3AF5A1C72A}" sibTransId="{353A13B3-DF88-4D40-8649-1B8D36C9E956}"/>
    <dgm:cxn modelId="{42678EFD-DB52-4236-A3B5-35A5DAC3B14C}" srcId="{0F6E8184-6640-4F09-A527-8D3861FEAF58}" destId="{99964707-1C2B-46E7-BD29-3F9C4DCD0F40}" srcOrd="1" destOrd="0" parTransId="{73B4D98B-D350-43F5-825C-BE33A09050FC}" sibTransId="{96B47E33-D9BD-45E9-B9B8-4FEE05B2C037}"/>
    <dgm:cxn modelId="{F2A6D2E6-078E-4C49-9054-092B7C2AD03C}" type="presParOf" srcId="{FF5D72E9-4206-47F8-BFD5-59FF312368A5}" destId="{D166CB41-7290-41DA-AA8D-D131503C488D}" srcOrd="0" destOrd="0" presId="urn:microsoft.com/office/officeart/2017/3/layout/DropPinTimeline"/>
    <dgm:cxn modelId="{E1F76E86-1794-4785-B217-8E395019E5F9}" type="presParOf" srcId="{FF5D72E9-4206-47F8-BFD5-59FF312368A5}" destId="{0B89048E-4004-41BA-82E1-C11C18601907}" srcOrd="1" destOrd="0" presId="urn:microsoft.com/office/officeart/2017/3/layout/DropPinTimeline"/>
    <dgm:cxn modelId="{B69AFB0A-F662-4F87-99D1-B1F28D18007E}" type="presParOf" srcId="{0B89048E-4004-41BA-82E1-C11C18601907}" destId="{670A6668-A681-41C9-A44B-045D5D2A6F31}" srcOrd="0" destOrd="0" presId="urn:microsoft.com/office/officeart/2017/3/layout/DropPinTimeline"/>
    <dgm:cxn modelId="{BA04581F-A841-4B2B-A968-FB6C49F39169}" type="presParOf" srcId="{670A6668-A681-41C9-A44B-045D5D2A6F31}" destId="{0B2821A8-A610-47B8-AB80-534B1D86B5A5}" srcOrd="0" destOrd="0" presId="urn:microsoft.com/office/officeart/2017/3/layout/DropPinTimeline"/>
    <dgm:cxn modelId="{427A4B55-83CE-4332-B62B-D88239120E05}" type="presParOf" srcId="{670A6668-A681-41C9-A44B-045D5D2A6F31}" destId="{428031C2-DCD5-427C-AFC7-6114F2C1AEDD}" srcOrd="1" destOrd="0" presId="urn:microsoft.com/office/officeart/2017/3/layout/DropPinTimeline"/>
    <dgm:cxn modelId="{700A3E82-F85A-4104-838C-4E1547356D8C}" type="presParOf" srcId="{428031C2-DCD5-427C-AFC7-6114F2C1AEDD}" destId="{6902DED8-C73A-4D34-AB67-9C847EA1A550}" srcOrd="0" destOrd="0" presId="urn:microsoft.com/office/officeart/2017/3/layout/DropPinTimeline"/>
    <dgm:cxn modelId="{E33E4FC5-E2EA-479D-A6C4-D3C63F1AB67A}" type="presParOf" srcId="{428031C2-DCD5-427C-AFC7-6114F2C1AEDD}" destId="{15A6C02A-D850-4C7F-952A-EEAEC0453674}" srcOrd="1" destOrd="0" presId="urn:microsoft.com/office/officeart/2017/3/layout/DropPinTimeline"/>
    <dgm:cxn modelId="{88E45AD9-0076-42C3-BB55-67A1D4F12F01}" type="presParOf" srcId="{670A6668-A681-41C9-A44B-045D5D2A6F31}" destId="{712F26D3-EBD6-46BF-BE48-FFB520EDFA08}" srcOrd="2" destOrd="0" presId="urn:microsoft.com/office/officeart/2017/3/layout/DropPinTimeline"/>
    <dgm:cxn modelId="{895ACC78-4A1D-45B6-B7C6-F93D8412ACFA}" type="presParOf" srcId="{670A6668-A681-41C9-A44B-045D5D2A6F31}" destId="{809182C7-5D29-4345-820D-5D8CC5985691}" srcOrd="3" destOrd="0" presId="urn:microsoft.com/office/officeart/2017/3/layout/DropPinTimeline"/>
    <dgm:cxn modelId="{FCB98AFC-188F-47DE-BAE1-D3F94524539E}" type="presParOf" srcId="{670A6668-A681-41C9-A44B-045D5D2A6F31}" destId="{1701025A-0A6E-407D-B675-E17549362622}" srcOrd="4" destOrd="0" presId="urn:microsoft.com/office/officeart/2017/3/layout/DropPinTimeline"/>
    <dgm:cxn modelId="{F3FF90B2-3DEF-4A7B-8EF4-C5B2893EA6DF}" type="presParOf" srcId="{670A6668-A681-41C9-A44B-045D5D2A6F31}" destId="{948665EF-90EE-46B4-8617-A6B19B342311}" srcOrd="5" destOrd="0" presId="urn:microsoft.com/office/officeart/2017/3/layout/DropPinTimeline"/>
    <dgm:cxn modelId="{9C61E7C7-8248-4B41-92DA-CC6B809FB8EB}" type="presParOf" srcId="{0B89048E-4004-41BA-82E1-C11C18601907}" destId="{77DA094C-732A-4F46-8EC0-E380460ED77D}" srcOrd="1" destOrd="0" presId="urn:microsoft.com/office/officeart/2017/3/layout/DropPinTimeline"/>
    <dgm:cxn modelId="{8F904499-B1A6-4574-9EE5-1A4EB133E6A5}" type="presParOf" srcId="{0B89048E-4004-41BA-82E1-C11C18601907}" destId="{6B73880B-9A8E-4057-A27A-87AD81884ECA}" srcOrd="2" destOrd="0" presId="urn:microsoft.com/office/officeart/2017/3/layout/DropPinTimeline"/>
    <dgm:cxn modelId="{EF189BED-893A-4C98-BCD0-F7FF9099DEAC}" type="presParOf" srcId="{6B73880B-9A8E-4057-A27A-87AD81884ECA}" destId="{C230DC0B-F43F-4609-B186-9447ECB497D2}" srcOrd="0" destOrd="0" presId="urn:microsoft.com/office/officeart/2017/3/layout/DropPinTimeline"/>
    <dgm:cxn modelId="{337669D9-D525-4AB9-950F-B1D8122DE0BD}" type="presParOf" srcId="{6B73880B-9A8E-4057-A27A-87AD81884ECA}" destId="{CD847D88-2F91-4724-B950-440BD5A85FF2}" srcOrd="1" destOrd="0" presId="urn:microsoft.com/office/officeart/2017/3/layout/DropPinTimeline"/>
    <dgm:cxn modelId="{1171B75C-7D8E-49C3-8F60-EA99D8D90222}" type="presParOf" srcId="{CD847D88-2F91-4724-B950-440BD5A85FF2}" destId="{C14D7BCD-7938-47CD-B81E-C577CC317BB7}" srcOrd="0" destOrd="0" presId="urn:microsoft.com/office/officeart/2017/3/layout/DropPinTimeline"/>
    <dgm:cxn modelId="{F871700B-ACFC-44B1-A5C7-675C27F4689C}" type="presParOf" srcId="{CD847D88-2F91-4724-B950-440BD5A85FF2}" destId="{EC594FF8-4D43-4E89-8872-E1DE2E73FC2E}" srcOrd="1" destOrd="0" presId="urn:microsoft.com/office/officeart/2017/3/layout/DropPinTimeline"/>
    <dgm:cxn modelId="{EA1A9F0A-6BE7-46AE-BBE7-AC0B1A0DDC81}" type="presParOf" srcId="{6B73880B-9A8E-4057-A27A-87AD81884ECA}" destId="{DAC1F416-285E-4465-81C2-E6DA616BEC2D}" srcOrd="2" destOrd="0" presId="urn:microsoft.com/office/officeart/2017/3/layout/DropPinTimeline"/>
    <dgm:cxn modelId="{862361FE-2969-4595-93E1-5C97C1EDA9B9}" type="presParOf" srcId="{6B73880B-9A8E-4057-A27A-87AD81884ECA}" destId="{DC47BB45-3933-4FB9-9769-530D59DDFB1B}" srcOrd="3" destOrd="0" presId="urn:microsoft.com/office/officeart/2017/3/layout/DropPinTimeline"/>
    <dgm:cxn modelId="{EE77D475-952A-4CAE-B172-9E469C15E81D}" type="presParOf" srcId="{6B73880B-9A8E-4057-A27A-87AD81884ECA}" destId="{3B20E28C-74E1-482A-BB3C-7538FF984CFC}" srcOrd="4" destOrd="0" presId="urn:microsoft.com/office/officeart/2017/3/layout/DropPinTimeline"/>
    <dgm:cxn modelId="{782A36C6-76B8-4A0B-A7F0-9F66102C7FF0}" type="presParOf" srcId="{6B73880B-9A8E-4057-A27A-87AD81884ECA}" destId="{30528DCC-D490-44BD-BCAC-257273D06595}" srcOrd="5" destOrd="0" presId="urn:microsoft.com/office/officeart/2017/3/layout/DropPinTimeline"/>
    <dgm:cxn modelId="{06DB7C17-2735-4C3D-A513-AA7EFD2BE34C}" type="presParOf" srcId="{0B89048E-4004-41BA-82E1-C11C18601907}" destId="{2CCB0579-831F-489C-8460-E2696D56D2BD}" srcOrd="3" destOrd="0" presId="urn:microsoft.com/office/officeart/2017/3/layout/DropPinTimeline"/>
    <dgm:cxn modelId="{A18FAD81-9CC7-47B6-AF5A-2586F759DC6D}" type="presParOf" srcId="{0B89048E-4004-41BA-82E1-C11C18601907}" destId="{D9988B74-5A49-4BB6-8447-3AD1EDC9E780}" srcOrd="4" destOrd="0" presId="urn:microsoft.com/office/officeart/2017/3/layout/DropPinTimeline"/>
    <dgm:cxn modelId="{4537C15D-0714-4C53-ABF0-1C1890FC8AD1}" type="presParOf" srcId="{D9988B74-5A49-4BB6-8447-3AD1EDC9E780}" destId="{3F575196-1C2E-4D18-85FB-0257082CDD81}" srcOrd="0" destOrd="0" presId="urn:microsoft.com/office/officeart/2017/3/layout/DropPinTimeline"/>
    <dgm:cxn modelId="{FBCE65F5-FFC0-4469-AE2D-A5E2CCE68940}" type="presParOf" srcId="{D9988B74-5A49-4BB6-8447-3AD1EDC9E780}" destId="{FD12D45F-0FDD-486B-8508-6691FD5B35A9}" srcOrd="1" destOrd="0" presId="urn:microsoft.com/office/officeart/2017/3/layout/DropPinTimeline"/>
    <dgm:cxn modelId="{53754B04-48F8-40C0-9FCD-09A50F8F12EE}" type="presParOf" srcId="{FD12D45F-0FDD-486B-8508-6691FD5B35A9}" destId="{64C4EA93-912B-4541-BDDF-FC1C5210286D}" srcOrd="0" destOrd="0" presId="urn:microsoft.com/office/officeart/2017/3/layout/DropPinTimeline"/>
    <dgm:cxn modelId="{B5F4026C-ED6E-4A90-9076-0EB01B34A5AA}" type="presParOf" srcId="{FD12D45F-0FDD-486B-8508-6691FD5B35A9}" destId="{44049E3C-BECB-4DB2-B28A-8642C51BC929}" srcOrd="1" destOrd="0" presId="urn:microsoft.com/office/officeart/2017/3/layout/DropPinTimeline"/>
    <dgm:cxn modelId="{46483140-EB35-4A3C-8A3F-4DFC23071B2C}" type="presParOf" srcId="{D9988B74-5A49-4BB6-8447-3AD1EDC9E780}" destId="{9C9B1779-4CBC-4F61-B0C8-219F9C79FB14}" srcOrd="2" destOrd="0" presId="urn:microsoft.com/office/officeart/2017/3/layout/DropPinTimeline"/>
    <dgm:cxn modelId="{AC8B5D77-500C-4F28-B9F2-35812C6261C6}" type="presParOf" srcId="{D9988B74-5A49-4BB6-8447-3AD1EDC9E780}" destId="{56317820-7051-4C8F-B774-D5D1CDE573BE}" srcOrd="3" destOrd="0" presId="urn:microsoft.com/office/officeart/2017/3/layout/DropPinTimeline"/>
    <dgm:cxn modelId="{5126F3EF-D1E7-4C7B-A7CC-2628547296BD}" type="presParOf" srcId="{D9988B74-5A49-4BB6-8447-3AD1EDC9E780}" destId="{57FA1EC9-B160-4FCF-96F9-BA4DBB3FD452}" srcOrd="4" destOrd="0" presId="urn:microsoft.com/office/officeart/2017/3/layout/DropPinTimeline"/>
    <dgm:cxn modelId="{50C2A9BF-8E57-4573-A485-3CD159935675}" type="presParOf" srcId="{D9988B74-5A49-4BB6-8447-3AD1EDC9E780}" destId="{0997B513-EB53-4F3F-A2E8-FB6EB50CD6B7}" srcOrd="5" destOrd="0" presId="urn:microsoft.com/office/officeart/2017/3/layout/DropPinTimeline"/>
    <dgm:cxn modelId="{1A66D108-BAAF-43AF-A838-4D653526EE5C}" type="presParOf" srcId="{0B89048E-4004-41BA-82E1-C11C18601907}" destId="{D57DB9B6-931F-439D-87B6-078C826C3F78}" srcOrd="5" destOrd="0" presId="urn:microsoft.com/office/officeart/2017/3/layout/DropPinTimeline"/>
    <dgm:cxn modelId="{8C832B0B-DB00-4234-BF4E-F5511DD2BECD}" type="presParOf" srcId="{0B89048E-4004-41BA-82E1-C11C18601907}" destId="{EFAE615A-07C9-415E-8E2E-89F8EA07DF71}" srcOrd="6" destOrd="0" presId="urn:microsoft.com/office/officeart/2017/3/layout/DropPinTimeline"/>
    <dgm:cxn modelId="{0B53A0F3-F6E7-428F-9596-8ABE435F9C0C}" type="presParOf" srcId="{EFAE615A-07C9-415E-8E2E-89F8EA07DF71}" destId="{56EABFB8-7E01-40DB-87A2-15CEDE9FEAC3}" srcOrd="0" destOrd="0" presId="urn:microsoft.com/office/officeart/2017/3/layout/DropPinTimeline"/>
    <dgm:cxn modelId="{2C52A2A5-5DF1-4C6A-9133-9EBD873E79F4}" type="presParOf" srcId="{EFAE615A-07C9-415E-8E2E-89F8EA07DF71}" destId="{949E7790-DB76-48E7-A7C1-CB722FCD9EA7}" srcOrd="1" destOrd="0" presId="urn:microsoft.com/office/officeart/2017/3/layout/DropPinTimeline"/>
    <dgm:cxn modelId="{A7BD96CB-12E3-4196-9A93-70E4F193F91E}" type="presParOf" srcId="{949E7790-DB76-48E7-A7C1-CB722FCD9EA7}" destId="{09FAACE4-6010-4794-BF0E-266FFE5B7F7F}" srcOrd="0" destOrd="0" presId="urn:microsoft.com/office/officeart/2017/3/layout/DropPinTimeline"/>
    <dgm:cxn modelId="{14C3BCE5-F442-411F-A5BE-6845D78C345D}" type="presParOf" srcId="{949E7790-DB76-48E7-A7C1-CB722FCD9EA7}" destId="{F96D1042-3AFA-422E-B6BA-D48BAE0C9A81}" srcOrd="1" destOrd="0" presId="urn:microsoft.com/office/officeart/2017/3/layout/DropPinTimeline"/>
    <dgm:cxn modelId="{728E9EDE-5306-4370-B0A4-FC7E1606793D}" type="presParOf" srcId="{EFAE615A-07C9-415E-8E2E-89F8EA07DF71}" destId="{BDAA938F-0A32-487A-990D-5F62262C1CA2}" srcOrd="2" destOrd="0" presId="urn:microsoft.com/office/officeart/2017/3/layout/DropPinTimeline"/>
    <dgm:cxn modelId="{D6EA0DF2-3F1C-463F-8702-6417E01994FA}" type="presParOf" srcId="{EFAE615A-07C9-415E-8E2E-89F8EA07DF71}" destId="{4C31140A-22F1-4344-8587-C4C16122DC8E}" srcOrd="3" destOrd="0" presId="urn:microsoft.com/office/officeart/2017/3/layout/DropPinTimeline"/>
    <dgm:cxn modelId="{D0D78E38-1E88-4671-8450-94AE32CFA8C5}" type="presParOf" srcId="{EFAE615A-07C9-415E-8E2E-89F8EA07DF71}" destId="{22E89C9D-CC6D-4479-9C21-916A59419D4A}" srcOrd="4" destOrd="0" presId="urn:microsoft.com/office/officeart/2017/3/layout/DropPinTimeline"/>
    <dgm:cxn modelId="{739A5822-9FC9-4926-AD4E-DAD61FC88426}" type="presParOf" srcId="{EFAE615A-07C9-415E-8E2E-89F8EA07DF71}" destId="{705C823F-50B7-44F8-ACF8-2A1B498214ED}" srcOrd="5" destOrd="0" presId="urn:microsoft.com/office/officeart/2017/3/layout/DropPinTimeline"/>
    <dgm:cxn modelId="{3D686B05-2825-43D7-BD84-A443C43A3A8C}" type="presParOf" srcId="{0B89048E-4004-41BA-82E1-C11C18601907}" destId="{2347B370-4B37-41E4-8AFD-329F87D6E397}" srcOrd="7" destOrd="0" presId="urn:microsoft.com/office/officeart/2017/3/layout/DropPinTimeline"/>
    <dgm:cxn modelId="{7CEC7012-C96E-49E3-A155-32C851E18AA9}" type="presParOf" srcId="{0B89048E-4004-41BA-82E1-C11C18601907}" destId="{7D3B6AF8-B52C-42D7-8AA8-13F638DEE77B}" srcOrd="8" destOrd="0" presId="urn:microsoft.com/office/officeart/2017/3/layout/DropPinTimeline"/>
    <dgm:cxn modelId="{16510370-E773-4957-9A1E-D62BF4F99150}" type="presParOf" srcId="{7D3B6AF8-B52C-42D7-8AA8-13F638DEE77B}" destId="{19A820BD-17C7-43DC-8F1D-88A540590293}" srcOrd="0" destOrd="0" presId="urn:microsoft.com/office/officeart/2017/3/layout/DropPinTimeline"/>
    <dgm:cxn modelId="{385A0FB3-BFDF-4268-ACE8-F14C166BB103}" type="presParOf" srcId="{7D3B6AF8-B52C-42D7-8AA8-13F638DEE77B}" destId="{967748B3-F4F2-42E7-B067-207ED4BD8F02}" srcOrd="1" destOrd="0" presId="urn:microsoft.com/office/officeart/2017/3/layout/DropPinTimeline"/>
    <dgm:cxn modelId="{83023AEB-D5AB-4195-9D90-91D4EA7FC4BA}" type="presParOf" srcId="{967748B3-F4F2-42E7-B067-207ED4BD8F02}" destId="{3B7ED767-BE8C-47CE-99E5-DA5DA5380EC7}" srcOrd="0" destOrd="0" presId="urn:microsoft.com/office/officeart/2017/3/layout/DropPinTimeline"/>
    <dgm:cxn modelId="{E0339AED-5F1A-40D5-82DD-9595E5B7BA03}" type="presParOf" srcId="{967748B3-F4F2-42E7-B067-207ED4BD8F02}" destId="{22010698-79D3-4BB6-B573-834EA4A816AD}" srcOrd="1" destOrd="0" presId="urn:microsoft.com/office/officeart/2017/3/layout/DropPinTimeline"/>
    <dgm:cxn modelId="{8E04DAF8-3C12-4998-BDFC-BD85B9A853E2}" type="presParOf" srcId="{7D3B6AF8-B52C-42D7-8AA8-13F638DEE77B}" destId="{ED2D503C-6CAD-494E-9C83-AD5856E177A6}" srcOrd="2" destOrd="0" presId="urn:microsoft.com/office/officeart/2017/3/layout/DropPinTimeline"/>
    <dgm:cxn modelId="{B6082D9B-A5C0-4967-B7A5-71E158C08981}" type="presParOf" srcId="{7D3B6AF8-B52C-42D7-8AA8-13F638DEE77B}" destId="{7A30048A-E77A-486B-BDBF-F186824D6F34}" srcOrd="3" destOrd="0" presId="urn:microsoft.com/office/officeart/2017/3/layout/DropPinTimeline"/>
    <dgm:cxn modelId="{BE603DE7-6B8D-4B75-B5C3-6768E4235B99}" type="presParOf" srcId="{7D3B6AF8-B52C-42D7-8AA8-13F638DEE77B}" destId="{11BC5BF5-869A-4FFD-84E0-391FF203AEB4}" srcOrd="4" destOrd="0" presId="urn:microsoft.com/office/officeart/2017/3/layout/DropPinTimeline"/>
    <dgm:cxn modelId="{570B0ECB-E7A2-419B-96E1-AAB5296407A1}" type="presParOf" srcId="{7D3B6AF8-B52C-42D7-8AA8-13F638DEE77B}" destId="{B8848F47-BB13-4AF3-86FA-1A4FE77BCA33}" srcOrd="5" destOrd="0" presId="urn:microsoft.com/office/officeart/2017/3/layout/DropPinTimeline"/>
    <dgm:cxn modelId="{383D71E6-8ECF-446D-9B80-77B19660DE04}" type="presParOf" srcId="{0B89048E-4004-41BA-82E1-C11C18601907}" destId="{CCD14902-AB88-476A-88EA-56E966B2D3B0}" srcOrd="9" destOrd="0" presId="urn:microsoft.com/office/officeart/2017/3/layout/DropPinTimeline"/>
    <dgm:cxn modelId="{56094E9B-3B76-4E59-968B-BFCCE090BBD9}" type="presParOf" srcId="{0B89048E-4004-41BA-82E1-C11C18601907}" destId="{FFE6CCCC-477E-4996-8455-C2AE57D31E80}" srcOrd="10" destOrd="0" presId="urn:microsoft.com/office/officeart/2017/3/layout/DropPinTimeline"/>
    <dgm:cxn modelId="{32BA9BB8-144C-4B99-AD59-04CD4D1934F6}" type="presParOf" srcId="{FFE6CCCC-477E-4996-8455-C2AE57D31E80}" destId="{2142D96E-D8BC-4017-AEDB-336A1B0BF928}" srcOrd="0" destOrd="0" presId="urn:microsoft.com/office/officeart/2017/3/layout/DropPinTimeline"/>
    <dgm:cxn modelId="{9829B6D3-BF66-46AA-BA58-A4AA983B035C}" type="presParOf" srcId="{FFE6CCCC-477E-4996-8455-C2AE57D31E80}" destId="{C5B83CB3-E2A0-4F4F-99EF-17F12D009E7D}" srcOrd="1" destOrd="0" presId="urn:microsoft.com/office/officeart/2017/3/layout/DropPinTimeline"/>
    <dgm:cxn modelId="{0A5C4CBA-5EB0-43A1-B944-8FDBB61382D3}" type="presParOf" srcId="{C5B83CB3-E2A0-4F4F-99EF-17F12D009E7D}" destId="{4C813C25-100F-4D2E-8A5B-921773842EAD}" srcOrd="0" destOrd="0" presId="urn:microsoft.com/office/officeart/2017/3/layout/DropPinTimeline"/>
    <dgm:cxn modelId="{30F29654-F7B9-47EA-BB3F-B0944710D8CC}" type="presParOf" srcId="{C5B83CB3-E2A0-4F4F-99EF-17F12D009E7D}" destId="{9C805A14-29E3-4C5B-B644-2A367A70C92B}" srcOrd="1" destOrd="0" presId="urn:microsoft.com/office/officeart/2017/3/layout/DropPinTimeline"/>
    <dgm:cxn modelId="{7DFD2A84-3C02-44A5-9E45-08D208883F2D}" type="presParOf" srcId="{FFE6CCCC-477E-4996-8455-C2AE57D31E80}" destId="{AC6D2B1A-A38D-4654-B41E-651010449319}" srcOrd="2" destOrd="0" presId="urn:microsoft.com/office/officeart/2017/3/layout/DropPinTimeline"/>
    <dgm:cxn modelId="{111D7C08-B5E8-4A45-B797-B049BCDBE987}" type="presParOf" srcId="{FFE6CCCC-477E-4996-8455-C2AE57D31E80}" destId="{3FECDF7A-6F6D-4F5C-A376-6813A42E5DCD}" srcOrd="3" destOrd="0" presId="urn:microsoft.com/office/officeart/2017/3/layout/DropPinTimeline"/>
    <dgm:cxn modelId="{7CE26241-3AAF-4957-B449-5EF3729F9FB6}" type="presParOf" srcId="{FFE6CCCC-477E-4996-8455-C2AE57D31E80}" destId="{13FF83DE-76E7-488C-ACBD-6AA20FB394EF}" srcOrd="4" destOrd="0" presId="urn:microsoft.com/office/officeart/2017/3/layout/DropPinTimeline"/>
    <dgm:cxn modelId="{280880FD-22DF-4CE5-812C-8E3452984DD7}" type="presParOf" srcId="{FFE6CCCC-477E-4996-8455-C2AE57D31E80}" destId="{2B21A340-0088-4269-BC50-D85F1253B0C4}" srcOrd="5" destOrd="0" presId="urn:microsoft.com/office/officeart/2017/3/layout/DropPinTimeline"/>
    <dgm:cxn modelId="{6AC643D6-CC18-47D2-B5B2-B199D6AD6CDE}" type="presParOf" srcId="{0B89048E-4004-41BA-82E1-C11C18601907}" destId="{40C457B0-E81B-4E88-B198-8B3B8F400C5E}" srcOrd="11" destOrd="0" presId="urn:microsoft.com/office/officeart/2017/3/layout/DropPinTimeline"/>
    <dgm:cxn modelId="{2CB97F19-AF83-4F57-A723-7ABD151D0A73}" type="presParOf" srcId="{0B89048E-4004-41BA-82E1-C11C18601907}" destId="{248A4995-6EAE-4314-AE00-05C66BFF5157}" srcOrd="12" destOrd="0" presId="urn:microsoft.com/office/officeart/2017/3/layout/DropPinTimeline"/>
    <dgm:cxn modelId="{A4E3DBB5-72E4-470D-B102-A92367F958FA}" type="presParOf" srcId="{248A4995-6EAE-4314-AE00-05C66BFF5157}" destId="{B3C903AD-B91A-4FA1-BFCD-998DBD4B5867}" srcOrd="0" destOrd="0" presId="urn:microsoft.com/office/officeart/2017/3/layout/DropPinTimeline"/>
    <dgm:cxn modelId="{BC02C159-1E21-40D3-A693-9DF456F1A548}" type="presParOf" srcId="{248A4995-6EAE-4314-AE00-05C66BFF5157}" destId="{A1D1D91C-A4A7-4B4C-B207-AFFA4B7038DB}" srcOrd="1" destOrd="0" presId="urn:microsoft.com/office/officeart/2017/3/layout/DropPinTimeline"/>
    <dgm:cxn modelId="{58239512-9D57-4D37-8BA6-F7DA6F66D7CF}" type="presParOf" srcId="{A1D1D91C-A4A7-4B4C-B207-AFFA4B7038DB}" destId="{EFB80C96-812E-40FD-B857-907A151A3F25}" srcOrd="0" destOrd="0" presId="urn:microsoft.com/office/officeart/2017/3/layout/DropPinTimeline"/>
    <dgm:cxn modelId="{441CD981-6985-4EDF-B26D-ECB2882DC148}" type="presParOf" srcId="{A1D1D91C-A4A7-4B4C-B207-AFFA4B7038DB}" destId="{9141D117-12E1-4F14-8DC0-7CCBF20452F5}" srcOrd="1" destOrd="0" presId="urn:microsoft.com/office/officeart/2017/3/layout/DropPinTimeline"/>
    <dgm:cxn modelId="{B15AA8F1-8234-4109-B059-7949CEA3C815}" type="presParOf" srcId="{248A4995-6EAE-4314-AE00-05C66BFF5157}" destId="{0393B18E-6175-4317-85D8-AB17270A56B0}" srcOrd="2" destOrd="0" presId="urn:microsoft.com/office/officeart/2017/3/layout/DropPinTimeline"/>
    <dgm:cxn modelId="{ACF47AE3-C2FD-46EC-98DE-0E366EDAFF99}" type="presParOf" srcId="{248A4995-6EAE-4314-AE00-05C66BFF5157}" destId="{8CA6550F-66C7-4298-A593-83DA97436E96}" srcOrd="3" destOrd="0" presId="urn:microsoft.com/office/officeart/2017/3/layout/DropPinTimeline"/>
    <dgm:cxn modelId="{C0250616-0ECE-4885-9F15-FA2DBF9268B9}" type="presParOf" srcId="{248A4995-6EAE-4314-AE00-05C66BFF5157}" destId="{A3B3FACD-0F5C-4C70-B8B3-9765C3BF1891}" srcOrd="4" destOrd="0" presId="urn:microsoft.com/office/officeart/2017/3/layout/DropPinTimeline"/>
    <dgm:cxn modelId="{A6626967-DD19-4E75-B364-E5AE94744F03}" type="presParOf" srcId="{248A4995-6EAE-4314-AE00-05C66BFF5157}" destId="{0D85CF2F-40E1-462E-A0F1-3FCEDCC1D341}" srcOrd="5" destOrd="0" presId="urn:microsoft.com/office/officeart/2017/3/layout/DropPinTimeline"/>
    <dgm:cxn modelId="{19B7C573-577A-4890-8F01-489D534AD923}" type="presParOf" srcId="{0B89048E-4004-41BA-82E1-C11C18601907}" destId="{47ED9FE6-69EC-4591-97D4-A012D83F336B}" srcOrd="13" destOrd="0" presId="urn:microsoft.com/office/officeart/2017/3/layout/DropPinTimeline"/>
    <dgm:cxn modelId="{F667012E-BB5F-4212-8E7F-078A8393AC93}" type="presParOf" srcId="{0B89048E-4004-41BA-82E1-C11C18601907}" destId="{87CFB10B-39DD-4BFC-BDD1-64623C4235CE}" srcOrd="14" destOrd="0" presId="urn:microsoft.com/office/officeart/2017/3/layout/DropPinTimeline"/>
    <dgm:cxn modelId="{087A0D60-82A8-43A3-85FC-ED15A097F8F0}" type="presParOf" srcId="{87CFB10B-39DD-4BFC-BDD1-64623C4235CE}" destId="{D57118BA-C8CE-4E1E-9BD2-A602B5C2A75E}" srcOrd="0" destOrd="0" presId="urn:microsoft.com/office/officeart/2017/3/layout/DropPinTimeline"/>
    <dgm:cxn modelId="{C2F0ECCF-CCD1-47C1-B6B3-9C2216738CD3}" type="presParOf" srcId="{87CFB10B-39DD-4BFC-BDD1-64623C4235CE}" destId="{99DE5837-CA3E-4A33-9BCD-7C8844E2FBAB}" srcOrd="1" destOrd="0" presId="urn:microsoft.com/office/officeart/2017/3/layout/DropPinTimeline"/>
    <dgm:cxn modelId="{9EC2BA02-6E4E-4152-8FE7-B39A1B824272}" type="presParOf" srcId="{99DE5837-CA3E-4A33-9BCD-7C8844E2FBAB}" destId="{3B3DC42F-8EE3-48F8-A1BA-B1253894B53E}" srcOrd="0" destOrd="0" presId="urn:microsoft.com/office/officeart/2017/3/layout/DropPinTimeline"/>
    <dgm:cxn modelId="{4B4B9B93-66D9-4A20-980E-CF4EE661B65D}" type="presParOf" srcId="{99DE5837-CA3E-4A33-9BCD-7C8844E2FBAB}" destId="{A2895D17-D615-47C3-8069-B4555F769CF3}" srcOrd="1" destOrd="0" presId="urn:microsoft.com/office/officeart/2017/3/layout/DropPinTimeline"/>
    <dgm:cxn modelId="{BD993A3C-F190-4A3D-A000-1FA8DB099856}" type="presParOf" srcId="{87CFB10B-39DD-4BFC-BDD1-64623C4235CE}" destId="{D82EB940-4574-4C17-BBA2-DA174524E1D3}" srcOrd="2" destOrd="0" presId="urn:microsoft.com/office/officeart/2017/3/layout/DropPinTimeline"/>
    <dgm:cxn modelId="{E49533FF-CCA5-4155-8E84-6FEA2A4A43ED}" type="presParOf" srcId="{87CFB10B-39DD-4BFC-BDD1-64623C4235CE}" destId="{00F72544-0650-472A-9D53-F35F00F53BF5}" srcOrd="3" destOrd="0" presId="urn:microsoft.com/office/officeart/2017/3/layout/DropPinTimeline"/>
    <dgm:cxn modelId="{1C91EE00-A076-40A9-B739-9E0E459AA059}" type="presParOf" srcId="{87CFB10B-39DD-4BFC-BDD1-64623C4235CE}" destId="{12D6D719-982D-47B7-86E1-42E7F182918D}" srcOrd="4" destOrd="0" presId="urn:microsoft.com/office/officeart/2017/3/layout/DropPinTimeline"/>
    <dgm:cxn modelId="{5A466432-CA99-4908-8A28-E9B062DCE09C}" type="presParOf" srcId="{87CFB10B-39DD-4BFC-BDD1-64623C4235CE}" destId="{5E35A71C-2E85-465B-82C0-F3502B93120D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66CB41-7290-41DA-AA8D-D131503C488D}">
      <dsp:nvSpPr>
        <dsp:cNvPr id="0" name=""/>
        <dsp:cNvSpPr/>
      </dsp:nvSpPr>
      <dsp:spPr>
        <a:xfrm>
          <a:off x="0" y="2412206"/>
          <a:ext cx="11449049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902DED8-C73A-4D34-AB67-9C847EA1A550}">
      <dsp:nvSpPr>
        <dsp:cNvPr id="0" name=""/>
        <dsp:cNvSpPr/>
      </dsp:nvSpPr>
      <dsp:spPr>
        <a:xfrm rot="8100000">
          <a:off x="75462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5A6C02A-D850-4C7F-952A-EEAEC0453674}">
      <dsp:nvSpPr>
        <dsp:cNvPr id="0" name=""/>
        <dsp:cNvSpPr/>
      </dsp:nvSpPr>
      <dsp:spPr>
        <a:xfrm>
          <a:off x="113849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12F26D3-EBD6-46BF-BE48-FFB520EDFA08}">
      <dsp:nvSpPr>
        <dsp:cNvPr id="0" name=""/>
        <dsp:cNvSpPr/>
      </dsp:nvSpPr>
      <dsp:spPr>
        <a:xfrm>
          <a:off x="492571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Introduction</a:t>
          </a:r>
        </a:p>
      </dsp:txBody>
      <dsp:txXfrm>
        <a:off x="492571" y="984180"/>
        <a:ext cx="2061650" cy="1428026"/>
      </dsp:txXfrm>
    </dsp:sp>
    <dsp:sp modelId="{809182C7-5D29-4345-820D-5D8CC5985691}">
      <dsp:nvSpPr>
        <dsp:cNvPr id="0" name=""/>
        <dsp:cNvSpPr/>
      </dsp:nvSpPr>
      <dsp:spPr>
        <a:xfrm>
          <a:off x="492571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0:15 – 10:45</a:t>
          </a:r>
        </a:p>
      </dsp:txBody>
      <dsp:txXfrm>
        <a:off x="492571" y="482441"/>
        <a:ext cx="2061650" cy="501738"/>
      </dsp:txXfrm>
    </dsp:sp>
    <dsp:sp modelId="{1701025A-0A6E-407D-B675-E17549362622}">
      <dsp:nvSpPr>
        <dsp:cNvPr id="0" name=""/>
        <dsp:cNvSpPr/>
      </dsp:nvSpPr>
      <dsp:spPr>
        <a:xfrm>
          <a:off x="248234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2821A8-A610-47B8-AB80-534B1D86B5A5}">
      <dsp:nvSpPr>
        <dsp:cNvPr id="0" name=""/>
        <dsp:cNvSpPr/>
      </dsp:nvSpPr>
      <dsp:spPr>
        <a:xfrm>
          <a:off x="21078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14D7BCD-7938-47CD-B81E-C577CC317BB7}">
      <dsp:nvSpPr>
        <dsp:cNvPr id="0" name=""/>
        <dsp:cNvSpPr/>
      </dsp:nvSpPr>
      <dsp:spPr>
        <a:xfrm rot="18900000">
          <a:off x="1345595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C594FF8-4D43-4E89-8872-E1DE2E73FC2E}">
      <dsp:nvSpPr>
        <dsp:cNvPr id="0" name=""/>
        <dsp:cNvSpPr/>
      </dsp:nvSpPr>
      <dsp:spPr>
        <a:xfrm>
          <a:off x="1383982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AC1F416-285E-4465-81C2-E6DA616BEC2D}">
      <dsp:nvSpPr>
        <dsp:cNvPr id="0" name=""/>
        <dsp:cNvSpPr/>
      </dsp:nvSpPr>
      <dsp:spPr>
        <a:xfrm>
          <a:off x="1762704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AWS terminology </a:t>
          </a:r>
          <a:br>
            <a:rPr lang="en-US" sz="1500" kern="1200" dirty="0"/>
          </a:br>
          <a:r>
            <a:rPr lang="en-US" sz="1500" kern="1200" dirty="0"/>
            <a:t>and CLI</a:t>
          </a:r>
        </a:p>
      </dsp:txBody>
      <dsp:txXfrm>
        <a:off x="1762704" y="2412206"/>
        <a:ext cx="2061650" cy="1428026"/>
      </dsp:txXfrm>
    </dsp:sp>
    <dsp:sp modelId="{DC47BB45-3933-4FB9-9769-530D59DDFB1B}">
      <dsp:nvSpPr>
        <dsp:cNvPr id="0" name=""/>
        <dsp:cNvSpPr/>
      </dsp:nvSpPr>
      <dsp:spPr>
        <a:xfrm>
          <a:off x="1762704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0:45 – 11:15</a:t>
          </a:r>
        </a:p>
      </dsp:txBody>
      <dsp:txXfrm>
        <a:off x="1762704" y="3840232"/>
        <a:ext cx="2061650" cy="501738"/>
      </dsp:txXfrm>
    </dsp:sp>
    <dsp:sp modelId="{3B20E28C-74E1-482A-BB3C-7538FF984CFC}">
      <dsp:nvSpPr>
        <dsp:cNvPr id="0" name=""/>
        <dsp:cNvSpPr/>
      </dsp:nvSpPr>
      <dsp:spPr>
        <a:xfrm>
          <a:off x="1518367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30DC0B-F43F-4609-B186-9447ECB497D2}">
      <dsp:nvSpPr>
        <dsp:cNvPr id="0" name=""/>
        <dsp:cNvSpPr/>
      </dsp:nvSpPr>
      <dsp:spPr>
        <a:xfrm>
          <a:off x="1480919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4C4EA93-912B-4541-BDDF-FC1C5210286D}">
      <dsp:nvSpPr>
        <dsp:cNvPr id="0" name=""/>
        <dsp:cNvSpPr/>
      </dsp:nvSpPr>
      <dsp:spPr>
        <a:xfrm rot="8100000">
          <a:off x="2615728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4049E3C-BECB-4DB2-B28A-8642C51BC929}">
      <dsp:nvSpPr>
        <dsp:cNvPr id="0" name=""/>
        <dsp:cNvSpPr/>
      </dsp:nvSpPr>
      <dsp:spPr>
        <a:xfrm>
          <a:off x="2654115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C9B1779-4CBC-4F61-B0C8-219F9C79FB14}">
      <dsp:nvSpPr>
        <dsp:cNvPr id="0" name=""/>
        <dsp:cNvSpPr/>
      </dsp:nvSpPr>
      <dsp:spPr>
        <a:xfrm>
          <a:off x="3032837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3</a:t>
          </a:r>
        </a:p>
      </dsp:txBody>
      <dsp:txXfrm>
        <a:off x="3032837" y="984180"/>
        <a:ext cx="2061650" cy="1428026"/>
      </dsp:txXfrm>
    </dsp:sp>
    <dsp:sp modelId="{56317820-7051-4C8F-B774-D5D1CDE573BE}">
      <dsp:nvSpPr>
        <dsp:cNvPr id="0" name=""/>
        <dsp:cNvSpPr/>
      </dsp:nvSpPr>
      <dsp:spPr>
        <a:xfrm>
          <a:off x="3032837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1:15 – 11:45</a:t>
          </a:r>
        </a:p>
      </dsp:txBody>
      <dsp:txXfrm>
        <a:off x="3032837" y="482441"/>
        <a:ext cx="2061650" cy="501738"/>
      </dsp:txXfrm>
    </dsp:sp>
    <dsp:sp modelId="{57FA1EC9-B160-4FCF-96F9-BA4DBB3FD452}">
      <dsp:nvSpPr>
        <dsp:cNvPr id="0" name=""/>
        <dsp:cNvSpPr/>
      </dsp:nvSpPr>
      <dsp:spPr>
        <a:xfrm>
          <a:off x="2788500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575196-1C2E-4D18-85FB-0257082CDD81}">
      <dsp:nvSpPr>
        <dsp:cNvPr id="0" name=""/>
        <dsp:cNvSpPr/>
      </dsp:nvSpPr>
      <dsp:spPr>
        <a:xfrm>
          <a:off x="2751052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9FAACE4-6010-4794-BF0E-266FFE5B7F7F}">
      <dsp:nvSpPr>
        <dsp:cNvPr id="0" name=""/>
        <dsp:cNvSpPr/>
      </dsp:nvSpPr>
      <dsp:spPr>
        <a:xfrm rot="18900000">
          <a:off x="3885861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96D1042-3AFA-422E-B6BA-D48BAE0C9A81}">
      <dsp:nvSpPr>
        <dsp:cNvPr id="0" name=""/>
        <dsp:cNvSpPr/>
      </dsp:nvSpPr>
      <dsp:spPr>
        <a:xfrm>
          <a:off x="3924248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AA938F-0A32-487A-990D-5F62262C1CA2}">
      <dsp:nvSpPr>
        <dsp:cNvPr id="0" name=""/>
        <dsp:cNvSpPr/>
      </dsp:nvSpPr>
      <dsp:spPr>
        <a:xfrm>
          <a:off x="4302970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ynamoDB</a:t>
          </a:r>
        </a:p>
      </dsp:txBody>
      <dsp:txXfrm>
        <a:off x="4302970" y="2412206"/>
        <a:ext cx="2061650" cy="1428026"/>
      </dsp:txXfrm>
    </dsp:sp>
    <dsp:sp modelId="{4C31140A-22F1-4344-8587-C4C16122DC8E}">
      <dsp:nvSpPr>
        <dsp:cNvPr id="0" name=""/>
        <dsp:cNvSpPr/>
      </dsp:nvSpPr>
      <dsp:spPr>
        <a:xfrm>
          <a:off x="4302970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1:45 – 12:30</a:t>
          </a:r>
        </a:p>
      </dsp:txBody>
      <dsp:txXfrm>
        <a:off x="4302970" y="3840232"/>
        <a:ext cx="2061650" cy="501738"/>
      </dsp:txXfrm>
    </dsp:sp>
    <dsp:sp modelId="{22E89C9D-CC6D-4479-9C21-916A59419D4A}">
      <dsp:nvSpPr>
        <dsp:cNvPr id="0" name=""/>
        <dsp:cNvSpPr/>
      </dsp:nvSpPr>
      <dsp:spPr>
        <a:xfrm>
          <a:off x="4058633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EABFB8-7E01-40DB-87A2-15CEDE9FEAC3}">
      <dsp:nvSpPr>
        <dsp:cNvPr id="0" name=""/>
        <dsp:cNvSpPr/>
      </dsp:nvSpPr>
      <dsp:spPr>
        <a:xfrm>
          <a:off x="4021185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7ED767-BE8C-47CE-99E5-DA5DA5380EC7}">
      <dsp:nvSpPr>
        <dsp:cNvPr id="0" name=""/>
        <dsp:cNvSpPr/>
      </dsp:nvSpPr>
      <dsp:spPr>
        <a:xfrm rot="8100000">
          <a:off x="5155993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2010698-79D3-4BB6-B573-834EA4A816AD}">
      <dsp:nvSpPr>
        <dsp:cNvPr id="0" name=""/>
        <dsp:cNvSpPr/>
      </dsp:nvSpPr>
      <dsp:spPr>
        <a:xfrm>
          <a:off x="5194380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D2D503C-6CAD-494E-9C83-AD5856E177A6}">
      <dsp:nvSpPr>
        <dsp:cNvPr id="0" name=""/>
        <dsp:cNvSpPr/>
      </dsp:nvSpPr>
      <dsp:spPr>
        <a:xfrm>
          <a:off x="5573103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unch break</a:t>
          </a:r>
        </a:p>
      </dsp:txBody>
      <dsp:txXfrm>
        <a:off x="5573103" y="984180"/>
        <a:ext cx="2061650" cy="1428026"/>
      </dsp:txXfrm>
    </dsp:sp>
    <dsp:sp modelId="{7A30048A-E77A-486B-BDBF-F186824D6F34}">
      <dsp:nvSpPr>
        <dsp:cNvPr id="0" name=""/>
        <dsp:cNvSpPr/>
      </dsp:nvSpPr>
      <dsp:spPr>
        <a:xfrm>
          <a:off x="5573103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2:30 – 13:30</a:t>
          </a:r>
        </a:p>
      </dsp:txBody>
      <dsp:txXfrm>
        <a:off x="5573103" y="482441"/>
        <a:ext cx="2061650" cy="501738"/>
      </dsp:txXfrm>
    </dsp:sp>
    <dsp:sp modelId="{11BC5BF5-869A-4FFD-84E0-391FF203AEB4}">
      <dsp:nvSpPr>
        <dsp:cNvPr id="0" name=""/>
        <dsp:cNvSpPr/>
      </dsp:nvSpPr>
      <dsp:spPr>
        <a:xfrm>
          <a:off x="5328766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A820BD-17C7-43DC-8F1D-88A540590293}">
      <dsp:nvSpPr>
        <dsp:cNvPr id="0" name=""/>
        <dsp:cNvSpPr/>
      </dsp:nvSpPr>
      <dsp:spPr>
        <a:xfrm>
          <a:off x="5291317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C813C25-100F-4D2E-8A5B-921773842EAD}">
      <dsp:nvSpPr>
        <dsp:cNvPr id="0" name=""/>
        <dsp:cNvSpPr/>
      </dsp:nvSpPr>
      <dsp:spPr>
        <a:xfrm rot="18900000">
          <a:off x="6426126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C805A14-29E3-4C5B-B644-2A367A70C92B}">
      <dsp:nvSpPr>
        <dsp:cNvPr id="0" name=""/>
        <dsp:cNvSpPr/>
      </dsp:nvSpPr>
      <dsp:spPr>
        <a:xfrm>
          <a:off x="6464513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C6D2B1A-A38D-4654-B41E-651010449319}">
      <dsp:nvSpPr>
        <dsp:cNvPr id="0" name=""/>
        <dsp:cNvSpPr/>
      </dsp:nvSpPr>
      <dsp:spPr>
        <a:xfrm>
          <a:off x="6843236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ambda (and possibly API gateway)</a:t>
          </a:r>
        </a:p>
      </dsp:txBody>
      <dsp:txXfrm>
        <a:off x="6843236" y="2412206"/>
        <a:ext cx="2061650" cy="1428026"/>
      </dsp:txXfrm>
    </dsp:sp>
    <dsp:sp modelId="{3FECDF7A-6F6D-4F5C-A376-6813A42E5DCD}">
      <dsp:nvSpPr>
        <dsp:cNvPr id="0" name=""/>
        <dsp:cNvSpPr/>
      </dsp:nvSpPr>
      <dsp:spPr>
        <a:xfrm>
          <a:off x="6843236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3:30 – 15:30</a:t>
          </a:r>
        </a:p>
      </dsp:txBody>
      <dsp:txXfrm>
        <a:off x="6843236" y="3840232"/>
        <a:ext cx="2061650" cy="501738"/>
      </dsp:txXfrm>
    </dsp:sp>
    <dsp:sp modelId="{13FF83DE-76E7-488C-ACBD-6AA20FB394EF}">
      <dsp:nvSpPr>
        <dsp:cNvPr id="0" name=""/>
        <dsp:cNvSpPr/>
      </dsp:nvSpPr>
      <dsp:spPr>
        <a:xfrm>
          <a:off x="6598899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2D96E-D8BC-4017-AEDB-336A1B0BF928}">
      <dsp:nvSpPr>
        <dsp:cNvPr id="0" name=""/>
        <dsp:cNvSpPr/>
      </dsp:nvSpPr>
      <dsp:spPr>
        <a:xfrm>
          <a:off x="6561450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FB80C96-812E-40FD-B857-907A151A3F25}">
      <dsp:nvSpPr>
        <dsp:cNvPr id="0" name=""/>
        <dsp:cNvSpPr/>
      </dsp:nvSpPr>
      <dsp:spPr>
        <a:xfrm rot="8100000">
          <a:off x="7696259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141D117-12E1-4F14-8DC0-7CCBF20452F5}">
      <dsp:nvSpPr>
        <dsp:cNvPr id="0" name=""/>
        <dsp:cNvSpPr/>
      </dsp:nvSpPr>
      <dsp:spPr>
        <a:xfrm>
          <a:off x="7734646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93B18E-6175-4317-85D8-AB17270A56B0}">
      <dsp:nvSpPr>
        <dsp:cNvPr id="0" name=""/>
        <dsp:cNvSpPr/>
      </dsp:nvSpPr>
      <dsp:spPr>
        <a:xfrm>
          <a:off x="8113368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Further AWS services</a:t>
          </a:r>
        </a:p>
      </dsp:txBody>
      <dsp:txXfrm>
        <a:off x="8113368" y="984180"/>
        <a:ext cx="2061650" cy="1428026"/>
      </dsp:txXfrm>
    </dsp:sp>
    <dsp:sp modelId="{8CA6550F-66C7-4298-A593-83DA97436E96}">
      <dsp:nvSpPr>
        <dsp:cNvPr id="0" name=""/>
        <dsp:cNvSpPr/>
      </dsp:nvSpPr>
      <dsp:spPr>
        <a:xfrm>
          <a:off x="8113368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5:30 – 15:45</a:t>
          </a:r>
        </a:p>
      </dsp:txBody>
      <dsp:txXfrm>
        <a:off x="8113368" y="482441"/>
        <a:ext cx="2061650" cy="501738"/>
      </dsp:txXfrm>
    </dsp:sp>
    <dsp:sp modelId="{A3B3FACD-0F5C-4C70-B8B3-9765C3BF1891}">
      <dsp:nvSpPr>
        <dsp:cNvPr id="0" name=""/>
        <dsp:cNvSpPr/>
      </dsp:nvSpPr>
      <dsp:spPr>
        <a:xfrm>
          <a:off x="7869031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C903AD-B91A-4FA1-BFCD-998DBD4B5867}">
      <dsp:nvSpPr>
        <dsp:cNvPr id="0" name=""/>
        <dsp:cNvSpPr/>
      </dsp:nvSpPr>
      <dsp:spPr>
        <a:xfrm>
          <a:off x="7831583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3DC42F-8EE3-48F8-A1BA-B1253894B53E}">
      <dsp:nvSpPr>
        <dsp:cNvPr id="0" name=""/>
        <dsp:cNvSpPr/>
      </dsp:nvSpPr>
      <dsp:spPr>
        <a:xfrm rot="18900000">
          <a:off x="8966392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2895D17-D615-47C3-8069-B4555F769CF3}">
      <dsp:nvSpPr>
        <dsp:cNvPr id="0" name=""/>
        <dsp:cNvSpPr/>
      </dsp:nvSpPr>
      <dsp:spPr>
        <a:xfrm>
          <a:off x="9004779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82EB940-4574-4C17-BBA2-DA174524E1D3}">
      <dsp:nvSpPr>
        <dsp:cNvPr id="0" name=""/>
        <dsp:cNvSpPr/>
      </dsp:nvSpPr>
      <dsp:spPr>
        <a:xfrm>
          <a:off x="9383501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ummary and feedback</a:t>
          </a:r>
        </a:p>
      </dsp:txBody>
      <dsp:txXfrm>
        <a:off x="9383501" y="2412206"/>
        <a:ext cx="2061650" cy="1428026"/>
      </dsp:txXfrm>
    </dsp:sp>
    <dsp:sp modelId="{00F72544-0650-472A-9D53-F35F00F53BF5}">
      <dsp:nvSpPr>
        <dsp:cNvPr id="0" name=""/>
        <dsp:cNvSpPr/>
      </dsp:nvSpPr>
      <dsp:spPr>
        <a:xfrm>
          <a:off x="9383501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 dirty="0"/>
            <a:t>15:45 – 16:00</a:t>
          </a:r>
        </a:p>
      </dsp:txBody>
      <dsp:txXfrm>
        <a:off x="9383501" y="3840232"/>
        <a:ext cx="2061650" cy="501738"/>
      </dsp:txXfrm>
    </dsp:sp>
    <dsp:sp modelId="{12D6D719-982D-47B7-86E1-42E7F182918D}">
      <dsp:nvSpPr>
        <dsp:cNvPr id="0" name=""/>
        <dsp:cNvSpPr/>
      </dsp:nvSpPr>
      <dsp:spPr>
        <a:xfrm>
          <a:off x="9139164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118BA-C8CE-4E1E-9BD2-A602B5C2A75E}">
      <dsp:nvSpPr>
        <dsp:cNvPr id="0" name=""/>
        <dsp:cNvSpPr/>
      </dsp:nvSpPr>
      <dsp:spPr>
        <a:xfrm>
          <a:off x="910171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87C71A-58F0-45ED-A413-A81D731C9E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F64736-4490-41E5-B8D0-CC0B16AA5B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1D644-C5F6-4389-814D-7B11F6EE30B8}" type="datetimeFigureOut">
              <a:rPr lang="en-US" smtClean="0">
                <a:solidFill>
                  <a:schemeClr val="tx2"/>
                </a:solidFill>
              </a:rPr>
              <a:t>12/9/2023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4704-B844-4B30-8232-A066958C3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8174B-A722-4D31-836F-28709BEFBA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360D7-C980-43CF-BF4A-86160FC365E0}" type="slidenum">
              <a:rPr lang="en-US" smtClean="0">
                <a:solidFill>
                  <a:schemeClr val="tx2"/>
                </a:solidFill>
              </a:rPr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26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58F5D356-0438-4495-B283-C41E12FE4BD0}" type="datetimeFigureOut">
              <a:rPr lang="en-US" smtClean="0"/>
              <a:pPr/>
              <a:t>12/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0"/>
              </a:spcBef>
              <a:buFontTx/>
              <a:buNone/>
            </a:pPr>
            <a:r>
              <a:rPr lang="en-US" dirty="0"/>
              <a:t>Click to edit Master text styles</a:t>
            </a:r>
          </a:p>
          <a:p>
            <a:pPr lvl="1" algn="l" defTabSz="914400" rtl="0" eaLnBrk="1" latinLnBrk="0" hangingPunct="1">
              <a:buClr>
                <a:schemeClr val="accent1"/>
              </a:buClr>
            </a:pPr>
            <a:r>
              <a:rPr lang="en-US" dirty="0"/>
              <a:t>Second level</a:t>
            </a:r>
          </a:p>
          <a:p>
            <a:pPr lvl="2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Third level</a:t>
            </a:r>
          </a:p>
          <a:p>
            <a:pPr lvl="3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ourth level</a:t>
            </a:r>
          </a:p>
          <a:p>
            <a:pPr lvl="4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2081FCD0-0B3F-4662-A1E4-AB7FCE2F39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30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400" kern="1200" dirty="0">
        <a:solidFill>
          <a:schemeClr val="tx2"/>
        </a:solidFill>
        <a:latin typeface="+mn-lt"/>
        <a:ea typeface="+mn-ea"/>
        <a:cs typeface="+mn-cs"/>
      </a:defRPr>
    </a:lvl1pPr>
    <a:lvl2pPr marL="216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2pPr>
    <a:lvl3pPr marL="432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3pPr>
    <a:lvl4pPr marL="648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4pPr>
    <a:lvl5pPr marL="864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e.nttdata.com/insights/blog/bmw-und-ntt-data-eine-globale-partnerschaft" TargetMode="External"/><Relationship Id="rId3" Type="http://schemas.openxmlformats.org/officeDocument/2006/relationships/hyperlink" Target="https://www.ntt-tx.com/products/" TargetMode="External"/><Relationship Id="rId7" Type="http://schemas.openxmlformats.org/officeDocument/2006/relationships/hyperlink" Target="https://de.nttdata.com/newsroom/2023/ntt-data-und-vatikanische-bibliothek-staerken-online-communities-mit-web3-nft-technologien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ntt-review.jp/" TargetMode="External"/><Relationship Id="rId5" Type="http://schemas.openxmlformats.org/officeDocument/2006/relationships/hyperlink" Target="https://www.ntt-review.jp/archive/ntttechnical.php?contents=ntr200706ip1.pdf&amp;mode=show_pdf" TargetMode="External"/><Relationship Id="rId4" Type="http://schemas.openxmlformats.org/officeDocument/2006/relationships/hyperlink" Target="https://www.ntt-at.com/product/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blog.awsfundamentals.com/" TargetMode="External"/><Relationship Id="rId3" Type="http://schemas.openxmlformats.org/officeDocument/2006/relationships/hyperlink" Target="https://aws.amazon.com/free/" TargetMode="External"/><Relationship Id="rId7" Type="http://schemas.openxmlformats.org/officeDocument/2006/relationships/hyperlink" Target="https://github.com/awslabs/aws-shell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gitforwindows.org/" TargetMode="External"/><Relationship Id="rId5" Type="http://schemas.openxmlformats.org/officeDocument/2006/relationships/hyperlink" Target="https://help.pluralsight.com/help/aws-sandbox" TargetMode="External"/><Relationship Id="rId4" Type="http://schemas.openxmlformats.org/officeDocument/2006/relationships/hyperlink" Target="https://learn.acloud.guru/cloud-playground/cloud-sandboxes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First of all, let the participants also present themselves with a focus on their motivation and technical background.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2613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4185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0256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1275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7084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0876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The difference between a prefix and a folder is the significance of the "/" character. </a:t>
            </a:r>
          </a:p>
          <a:p>
            <a:r>
              <a:rPr lang="en-US" dirty="0"/>
              <a:t>For folders, the "/" character separates subfolders from each other as well as from the object name. For prefixes, "/" is just another character. </a:t>
            </a:r>
          </a:p>
          <a:p>
            <a:r>
              <a:rPr lang="en-US" dirty="0"/>
              <a:t>The "/" does not indicate a partition placement. Amazon S3 console supports the folder concept only as a means of grouping (and displaying) objects.</a:t>
            </a:r>
            <a:br>
              <a:rPr lang="de-DE" dirty="0"/>
            </a:br>
            <a:endParaRPr lang="de-DE" dirty="0"/>
          </a:p>
          <a:p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top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orage Classes, Life Cycl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Version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2689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228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ynamoDB uses an internal hash function to evenly distribute data items across partitions based on their partition key.</a:t>
            </a:r>
          </a:p>
          <a:p>
            <a:r>
              <a:rPr lang="en-US" dirty="0"/>
              <a:t>The output from the hash function determines the partition in DynamoDB</a:t>
            </a:r>
            <a:r>
              <a:rPr lang="de-DE" dirty="0"/>
              <a:t>‘s </a:t>
            </a:r>
            <a:r>
              <a:rPr lang="en-US" dirty="0"/>
              <a:t>internal physical storage, in which the item is stored.</a:t>
            </a:r>
          </a:p>
          <a:p>
            <a:endParaRPr lang="en-US" dirty="0"/>
          </a:p>
          <a:p>
            <a:r>
              <a:rPr lang="en-US" dirty="0"/>
              <a:t>DynamoDB stores items with the same partition key physically close together sorted by the sort key.</a:t>
            </a:r>
          </a:p>
          <a:p>
            <a:r>
              <a:rPr lang="en-US" dirty="0"/>
              <a:t>Therefore, the partition key of an item is also known as its hash attribute, whereas the sort key of an item is also known as its range attribute. </a:t>
            </a:r>
          </a:p>
          <a:p>
            <a:endParaRPr lang="en-US" dirty="0"/>
          </a:p>
          <a:p>
            <a:r>
              <a:rPr lang="en-US" dirty="0"/>
              <a:t>Advanced topic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tch </a:t>
            </a:r>
            <a:r>
              <a:rPr lang="de-DE" b="0" dirty="0" err="1"/>
              <a:t>operation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Atomic</a:t>
            </a:r>
            <a:r>
              <a:rPr lang="de-DE" b="0" dirty="0"/>
              <a:t> Upd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cku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DynamoDB</a:t>
            </a:r>
            <a:r>
              <a:rPr lang="de-DE" b="0" dirty="0"/>
              <a:t> Streams -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ification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9915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67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887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eil</a:t>
            </a:r>
            <a:r>
              <a:rPr lang="de-DE" baseline="0" dirty="0"/>
              <a:t> einer weltweit (über 88 Länder) tätigen Unternehmensgruppe mit HQ in Japa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Enso-Kreis</a:t>
            </a:r>
            <a:r>
              <a:rPr lang="de-DE" baseline="0" dirty="0"/>
              <a:t> bedeutet neben </a:t>
            </a:r>
            <a:r>
              <a:rPr lang="de-DE" sz="1400" b="0" i="0" kern="120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Erleuchtung, Stärke, Eleganz, das Universum und der Leere</a:t>
            </a: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; unsere Arbeit -&gt; heute schon an den Innovationen von morgen arbeiten; </a:t>
            </a:r>
            <a:r>
              <a:rPr lang="en-US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j</a:t>
            </a:r>
            <a:r>
              <a:rPr lang="en-US" dirty="0"/>
              <a:t>ap</a:t>
            </a:r>
            <a:r>
              <a:rPr lang="en-US" b="0" i="0" kern="1200" baseline="0" dirty="0">
                <a:effectLst/>
              </a:rPr>
              <a:t>.</a:t>
            </a:r>
            <a:r>
              <a:rPr lang="en-US" dirty="0"/>
              <a:t> </a:t>
            </a:r>
            <a:r>
              <a:rPr lang="en-US" dirty="0" err="1"/>
              <a:t>Firmenkultur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>
                <a:sym typeface="Wingdings" panose="05000000000000000000" pitchFamily="2" charset="2"/>
              </a:rPr>
              <a:t> </a:t>
            </a:r>
            <a:r>
              <a:rPr lang="en-US" dirty="0" err="1">
                <a:sym typeface="Wingdings" panose="05000000000000000000" pitchFamily="2" charset="2"/>
              </a:rPr>
              <a:t>Fokus</a:t>
            </a:r>
            <a:r>
              <a:rPr lang="en-US" dirty="0">
                <a:sym typeface="Wingdings" panose="05000000000000000000" pitchFamily="2" charset="2"/>
              </a:rPr>
              <a:t> auf </a:t>
            </a:r>
            <a:r>
              <a:rPr lang="en-US" dirty="0" err="1">
                <a:sym typeface="Wingdings" panose="05000000000000000000" pitchFamily="2" charset="2"/>
              </a:rPr>
              <a:t>nachhaltige</a:t>
            </a:r>
            <a:r>
              <a:rPr lang="en-US" dirty="0">
                <a:sym typeface="Wingdings" panose="05000000000000000000" pitchFamily="2" charset="2"/>
              </a:rPr>
              <a:t> Arbeit -&gt; innovative </a:t>
            </a:r>
            <a:r>
              <a:rPr lang="en-US" dirty="0" err="1">
                <a:sym typeface="Wingdings" panose="05000000000000000000" pitchFamily="2" charset="2"/>
              </a:rPr>
              <a:t>Technologien</a:t>
            </a:r>
            <a:r>
              <a:rPr lang="en-US" dirty="0">
                <a:sym typeface="Wingdings" panose="05000000000000000000" pitchFamily="2" charset="2"/>
              </a:rPr>
              <a:t>/</a:t>
            </a:r>
            <a:r>
              <a:rPr lang="en-US" dirty="0" err="1">
                <a:sym typeface="Wingdings" panose="05000000000000000000" pitchFamily="2" charset="2"/>
              </a:rPr>
              <a:t>Lösungen</a:t>
            </a:r>
            <a:r>
              <a:rPr lang="en-US" dirty="0">
                <a:sym typeface="Wingdings" panose="05000000000000000000" pitchFamily="2" charset="2"/>
              </a:rPr>
              <a:t> für </a:t>
            </a:r>
            <a:r>
              <a:rPr lang="en-US" dirty="0" err="1">
                <a:sym typeface="Wingdings" panose="05000000000000000000" pitchFamily="2" charset="2"/>
              </a:rPr>
              <a:t>Kunden</a:t>
            </a:r>
            <a:r>
              <a:rPr lang="en-US" dirty="0">
                <a:sym typeface="Wingdings" panose="05000000000000000000" pitchFamily="2" charset="2"/>
              </a:rPr>
              <a:t>; </a:t>
            </a:r>
            <a:r>
              <a:rPr lang="en-US" dirty="0" err="1">
                <a:sym typeface="Wingdings" panose="05000000000000000000" pitchFamily="2" charset="2"/>
              </a:rPr>
              <a:t>langfristige</a:t>
            </a:r>
            <a:r>
              <a:rPr lang="en-US" dirty="0">
                <a:sym typeface="Wingdings" panose="05000000000000000000" pitchFamily="2" charset="2"/>
              </a:rPr>
              <a:t> </a:t>
            </a:r>
            <a:r>
              <a:rPr lang="en-US" dirty="0" err="1">
                <a:sym typeface="Wingdings" panose="05000000000000000000" pitchFamily="2" charset="2"/>
              </a:rPr>
              <a:t>Perspektive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urc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Verfolgung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Strategie</a:t>
            </a:r>
            <a:r>
              <a:rPr lang="en-US" dirty="0">
                <a:sym typeface="Wingdings" panose="05000000000000000000" pitchFamily="2" charset="2"/>
              </a:rPr>
              <a:t> (3-5 Jahre); </a:t>
            </a:r>
            <a:r>
              <a:rPr lang="en-US" dirty="0" err="1">
                <a:sym typeface="Wingdings" panose="05000000000000000000" pitchFamily="2" charset="2"/>
              </a:rPr>
              <a:t>Abgrenzung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klassisch-amerikanischen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Unternehmen</a:t>
            </a:r>
            <a:endParaRPr lang="de-DE" sz="1400" b="0" i="0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Auch die tägl. verwendeten Smileys sind ein Ergebnis der Kreativität der NTT Gruppe (in Japan auch zur Erleichterung der Kommunikation genutzt -&gt; wegen komplizierter Zeichen in der Sprache, lieber Symbolik über Emojis) -&gt; NTT DATA hat ersten Entwurf bzw. Vorgänger von Emojis entwicke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6297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432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mbda natively </a:t>
            </a:r>
            <a:r>
              <a:rPr lang="en-US" b="0" dirty="0"/>
              <a:t>supports Java, Go, PowerShell, Node.js, C#, Python, and Rub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522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506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4656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6244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224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ym typeface="Wingdings" panose="05000000000000000000" pitchFamily="2" charset="2"/>
              </a:rPr>
              <a:t>Patente</a:t>
            </a:r>
            <a:r>
              <a:rPr lang="en-US" dirty="0">
                <a:sym typeface="Wingdings" panose="05000000000000000000" pitchFamily="2" charset="2"/>
              </a:rPr>
              <a:t> (</a:t>
            </a:r>
            <a:r>
              <a:rPr lang="en-US" dirty="0" err="1">
                <a:sym typeface="Wingdings" panose="05000000000000000000" pitchFamily="2" charset="2"/>
              </a:rPr>
              <a:t>eine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uswahl</a:t>
            </a:r>
            <a:r>
              <a:rPr lang="en-US" dirty="0">
                <a:sym typeface="Wingdings" panose="05000000000000000000" pitchFamily="2" charset="2"/>
              </a:rPr>
              <a:t> an </a:t>
            </a:r>
            <a:r>
              <a:rPr lang="en-US" dirty="0" err="1">
                <a:sym typeface="Wingdings" panose="05000000000000000000" pitchFamily="2" charset="2"/>
              </a:rPr>
              <a:t>Beispielen</a:t>
            </a:r>
            <a:r>
              <a:rPr lang="en-US" dirty="0">
                <a:sym typeface="Wingdings" panose="05000000000000000000" pitchFamily="2" charset="2"/>
              </a:rPr>
              <a:t>):</a:t>
            </a: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NTT </a:t>
            </a:r>
            <a:r>
              <a:rPr lang="en-US" dirty="0" err="1">
                <a:sym typeface="Wingdings" panose="05000000000000000000" pitchFamily="2" charset="2"/>
              </a:rPr>
              <a:t>TechnoCross</a:t>
            </a:r>
            <a:r>
              <a:rPr lang="en-US" dirty="0">
                <a:sym typeface="Wingdings" panose="05000000000000000000" pitchFamily="2" charset="2"/>
              </a:rPr>
              <a:t> (NTT-TX) Corporation 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Intelligent Microphone </a:t>
            </a:r>
            <a:r>
              <a:rPr lang="en-US" dirty="0">
                <a:sym typeface="Wingdings" panose="05000000000000000000" pitchFamily="2" charset="2"/>
              </a:rPr>
              <a:t>in Automotive -&gt; </a:t>
            </a:r>
            <a:r>
              <a:rPr lang="en-US" dirty="0" err="1">
                <a:sym typeface="Wingdings" panose="05000000000000000000" pitchFamily="2" charset="2"/>
              </a:rPr>
              <a:t>Reduktion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Hintergrundgeräuschen</a:t>
            </a:r>
            <a:r>
              <a:rPr lang="en-US" dirty="0">
                <a:sym typeface="Wingdings" panose="05000000000000000000" pitchFamily="2" charset="2"/>
              </a:rPr>
              <a:t> um 99,99 </a:t>
            </a:r>
            <a:r>
              <a:rPr lang="en-US" dirty="0" err="1">
                <a:sym typeface="Wingdings" panose="05000000000000000000" pitchFamily="2" charset="2"/>
              </a:rPr>
              <a:t>Prozen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uch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bei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meh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ls</a:t>
            </a:r>
            <a:r>
              <a:rPr lang="en-US" dirty="0">
                <a:sym typeface="Wingdings" panose="05000000000000000000" pitchFamily="2" charset="2"/>
              </a:rPr>
              <a:t> 100 </a:t>
            </a:r>
            <a:r>
              <a:rPr lang="en-US" dirty="0" err="1">
                <a:sym typeface="Wingdings" panose="05000000000000000000" pitchFamily="2" charset="2"/>
              </a:rPr>
              <a:t>Dezibel</a:t>
            </a:r>
            <a:endParaRPr lang="en-US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 err="1">
                <a:sym typeface="Wingdings" panose="05000000000000000000" pitchFamily="2" charset="2"/>
              </a:rPr>
              <a:t>iDoperation</a:t>
            </a:r>
            <a:r>
              <a:rPr lang="en-US" dirty="0">
                <a:sym typeface="Wingdings" panose="05000000000000000000" pitchFamily="2" charset="2"/>
              </a:rPr>
              <a:t> in Security -&gt; PAM (Privileged Account Management) Software </a:t>
            </a:r>
            <a:r>
              <a:rPr lang="en-US" dirty="0" err="1">
                <a:sym typeface="Wingdings" panose="05000000000000000000" pitchFamily="2" charset="2"/>
              </a:rPr>
              <a:t>zu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Prozessautomatisierung</a:t>
            </a:r>
            <a:r>
              <a:rPr lang="en-US" dirty="0">
                <a:sym typeface="Wingdings" panose="05000000000000000000" pitchFamily="2" charset="2"/>
              </a:rPr>
              <a:t> des Monitoring/der </a:t>
            </a:r>
            <a:r>
              <a:rPr lang="en-US" dirty="0" err="1">
                <a:sym typeface="Wingdings" panose="05000000000000000000" pitchFamily="2" charset="2"/>
              </a:rPr>
              <a:t>Sicherhei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efinierter</a:t>
            </a:r>
            <a:r>
              <a:rPr lang="en-US" dirty="0">
                <a:sym typeface="Wingdings" panose="05000000000000000000" pitchFamily="2" charset="2"/>
              </a:rPr>
              <a:t> Accounts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U-motion</a:t>
            </a:r>
            <a:r>
              <a:rPr lang="en-US" dirty="0">
                <a:sym typeface="Wingdings" panose="05000000000000000000" pitchFamily="2" charset="2"/>
              </a:rPr>
              <a:t> in </a:t>
            </a:r>
            <a:r>
              <a:rPr lang="en-US" dirty="0" err="1">
                <a:sym typeface="Wingdings" panose="05000000000000000000" pitchFamily="2" charset="2"/>
              </a:rPr>
              <a:t>Agrikultur</a:t>
            </a:r>
            <a:r>
              <a:rPr lang="en-US" dirty="0">
                <a:sym typeface="Wingdings" panose="05000000000000000000" pitchFamily="2" charset="2"/>
              </a:rPr>
              <a:t> -&gt; </a:t>
            </a:r>
            <a:r>
              <a:rPr lang="en-US" dirty="0" err="1">
                <a:sym typeface="Wingdings" panose="05000000000000000000" pitchFamily="2" charset="2"/>
              </a:rPr>
              <a:t>Überwachung</a:t>
            </a:r>
            <a:r>
              <a:rPr lang="en-US" dirty="0">
                <a:sym typeface="Wingdings" panose="05000000000000000000" pitchFamily="2" charset="2"/>
              </a:rPr>
              <a:t> des </a:t>
            </a:r>
            <a:r>
              <a:rPr lang="en-US" dirty="0" err="1">
                <a:sym typeface="Wingdings" panose="05000000000000000000" pitchFamily="2" charset="2"/>
              </a:rPr>
              <a:t>Verhaltens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Tieren</a:t>
            </a:r>
            <a:r>
              <a:rPr lang="en-US" dirty="0">
                <a:sym typeface="Wingdings" panose="05000000000000000000" pitchFamily="2" charset="2"/>
              </a:rPr>
              <a:t> in der </a:t>
            </a:r>
            <a:r>
              <a:rPr lang="en-US" dirty="0" err="1">
                <a:sym typeface="Wingdings" panose="05000000000000000000" pitchFamily="2" charset="2"/>
              </a:rPr>
              <a:t>Viehzucht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anhand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Sensorik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mittels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eines</a:t>
            </a:r>
            <a:r>
              <a:rPr lang="en-US" dirty="0">
                <a:sym typeface="Wingdings" panose="05000000000000000000" pitchFamily="2" charset="2"/>
              </a:rPr>
              <a:t> Tags; </a:t>
            </a:r>
            <a:r>
              <a:rPr lang="en-US" dirty="0" err="1">
                <a:sym typeface="Wingdings" panose="05000000000000000000" pitchFamily="2" charset="2"/>
              </a:rPr>
              <a:t>Frühzeiterkennung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Prävention</a:t>
            </a:r>
            <a:r>
              <a:rPr lang="en-US" dirty="0">
                <a:sym typeface="Wingdings" panose="05000000000000000000" pitchFamily="2" charset="2"/>
              </a:rPr>
              <a:t> von </a:t>
            </a:r>
            <a:r>
              <a:rPr lang="en-US" dirty="0" err="1">
                <a:sym typeface="Wingdings" panose="05000000000000000000" pitchFamily="2" charset="2"/>
              </a:rPr>
              <a:t>Krankheiten</a:t>
            </a:r>
            <a:r>
              <a:rPr lang="en-US" dirty="0">
                <a:sym typeface="Wingdings" panose="05000000000000000000" pitchFamily="2" charset="2"/>
              </a:rPr>
              <a:t>, </a:t>
            </a:r>
            <a:r>
              <a:rPr lang="en-US" dirty="0" err="1">
                <a:sym typeface="Wingdings" panose="05000000000000000000" pitchFamily="2" charset="2"/>
              </a:rPr>
              <a:t>Einstellung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optimaler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Temperaturverhältnisse</a:t>
            </a:r>
            <a:r>
              <a:rPr lang="en-US" dirty="0">
                <a:sym typeface="Wingdings" panose="05000000000000000000" pitchFamily="2" charset="2"/>
              </a:rPr>
              <a:t>, …</a:t>
            </a: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NTT Advanced Technology (NTT AT) Corporation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>
                <a:sym typeface="Wingdings" panose="05000000000000000000" pitchFamily="2" charset="2"/>
              </a:rPr>
              <a:t>Produkte</a:t>
            </a:r>
            <a:r>
              <a:rPr lang="en-US" dirty="0">
                <a:sym typeface="Wingdings" panose="05000000000000000000" pitchFamily="2" charset="2"/>
              </a:rPr>
              <a:t> in den </a:t>
            </a:r>
            <a:r>
              <a:rPr lang="en-US" dirty="0" err="1">
                <a:sym typeface="Wingdings" panose="05000000000000000000" pitchFamily="2" charset="2"/>
              </a:rPr>
              <a:t>Bereichen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Optik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Sensorik</a:t>
            </a:r>
            <a:r>
              <a:rPr lang="en-US" dirty="0">
                <a:sym typeface="Wingdings" panose="05000000000000000000" pitchFamily="2" charset="2"/>
              </a:rPr>
              <a:t>, Multimedia, </a:t>
            </a:r>
            <a:r>
              <a:rPr lang="en-US" dirty="0" err="1">
                <a:sym typeface="Wingdings" panose="05000000000000000000" pitchFamily="2" charset="2"/>
              </a:rPr>
              <a:t>Nanotechnologie</a:t>
            </a:r>
            <a:r>
              <a:rPr lang="en-US" dirty="0">
                <a:sym typeface="Wingdings" panose="05000000000000000000" pitchFamily="2" charset="2"/>
              </a:rPr>
              <a:t>, </a:t>
            </a:r>
            <a:r>
              <a:rPr lang="en-US" dirty="0" err="1">
                <a:sym typeface="Wingdings" panose="05000000000000000000" pitchFamily="2" charset="2"/>
              </a:rPr>
              <a:t>Gebäudewartung</a:t>
            </a:r>
            <a:r>
              <a:rPr lang="en-US" dirty="0">
                <a:sym typeface="Wingdings" panose="05000000000000000000" pitchFamily="2" charset="2"/>
              </a:rPr>
              <a:t> und </a:t>
            </a:r>
            <a:r>
              <a:rPr lang="en-US" dirty="0" err="1">
                <a:sym typeface="Wingdings" panose="05000000000000000000" pitchFamily="2" charset="2"/>
              </a:rPr>
              <a:t>Materialanalyse</a:t>
            </a:r>
            <a:endParaRPr lang="en-US" dirty="0">
              <a:sym typeface="Wingdings" panose="05000000000000000000" pitchFamily="2" charset="2"/>
            </a:endParaRPr>
          </a:p>
          <a:p>
            <a:pPr marL="501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ym typeface="Wingdings" panose="05000000000000000000" pitchFamily="2" charset="2"/>
              </a:rPr>
              <a:t>Technical Reviews</a:t>
            </a: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ym typeface="Wingdings" panose="05000000000000000000" pitchFamily="2" charset="2"/>
              </a:rPr>
              <a:t>Multisector Antenna </a:t>
            </a:r>
            <a:r>
              <a:rPr lang="en-US" b="0" dirty="0">
                <a:sym typeface="Wingdings" panose="05000000000000000000" pitchFamily="2" charset="2"/>
              </a:rPr>
              <a:t>-&gt; </a:t>
            </a:r>
            <a:r>
              <a:rPr lang="en-US" b="0" dirty="0" err="1">
                <a:sym typeface="Wingdings" panose="05000000000000000000" pitchFamily="2" charset="2"/>
              </a:rPr>
              <a:t>Direktional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usgerichtet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ntennen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ls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Elemente</a:t>
            </a:r>
            <a:r>
              <a:rPr lang="en-US" b="0" dirty="0">
                <a:sym typeface="Wingdings" panose="05000000000000000000" pitchFamily="2" charset="2"/>
              </a:rPr>
              <a:t>, die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Kreis </a:t>
            </a:r>
            <a:r>
              <a:rPr lang="en-US" b="0" dirty="0" err="1">
                <a:sym typeface="Wingdings" panose="05000000000000000000" pitchFamily="2" charset="2"/>
              </a:rPr>
              <a:t>formiert</a:t>
            </a:r>
            <a:r>
              <a:rPr lang="en-US" b="0" dirty="0">
                <a:sym typeface="Wingdings" panose="05000000000000000000" pitchFamily="2" charset="2"/>
              </a:rPr>
              <a:t> alle </a:t>
            </a:r>
            <a:r>
              <a:rPr lang="en-US" b="0" dirty="0" err="1">
                <a:sym typeface="Wingdings" panose="05000000000000000000" pitchFamily="2" charset="2"/>
              </a:rPr>
              <a:t>Richtungen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abdecken</a:t>
            </a:r>
            <a:r>
              <a:rPr lang="en-US" b="0" dirty="0">
                <a:sym typeface="Wingdings" panose="05000000000000000000" pitchFamily="2" charset="2"/>
              </a:rPr>
              <a:t>;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Bereich</a:t>
            </a:r>
            <a:r>
              <a:rPr lang="en-US" b="0" dirty="0">
                <a:sym typeface="Wingdings" panose="05000000000000000000" pitchFamily="2" charset="2"/>
              </a:rPr>
              <a:t> Mobile Devices </a:t>
            </a:r>
            <a:r>
              <a:rPr lang="en-US" b="0" dirty="0" err="1">
                <a:sym typeface="Wingdings" panose="05000000000000000000" pitchFamily="2" charset="2"/>
              </a:rPr>
              <a:t>wird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damit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lückenlos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Konnektivität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gewährleistet</a:t>
            </a:r>
            <a:endParaRPr lang="en-US" b="0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dirty="0" err="1">
                <a:sym typeface="Wingdings" panose="05000000000000000000" pitchFamily="2" charset="2"/>
              </a:rPr>
              <a:t>Darüber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hinaus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viel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Produkt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im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Bereich</a:t>
            </a:r>
            <a:r>
              <a:rPr lang="en-US" b="0" dirty="0">
                <a:sym typeface="Wingdings" panose="05000000000000000000" pitchFamily="2" charset="2"/>
              </a:rPr>
              <a:t> Machine Learning, </a:t>
            </a:r>
            <a:r>
              <a:rPr lang="en-US" b="0" dirty="0" err="1">
                <a:sym typeface="Wingdings" panose="05000000000000000000" pitchFamily="2" charset="2"/>
              </a:rPr>
              <a:t>künstliche</a:t>
            </a:r>
            <a:r>
              <a:rPr lang="en-US" b="0" dirty="0">
                <a:sym typeface="Wingdings" panose="05000000000000000000" pitchFamily="2" charset="2"/>
              </a:rPr>
              <a:t> </a:t>
            </a:r>
            <a:r>
              <a:rPr lang="en-US" b="0" dirty="0" err="1">
                <a:sym typeface="Wingdings" panose="05000000000000000000" pitchFamily="2" charset="2"/>
              </a:rPr>
              <a:t>Intelligenz</a:t>
            </a:r>
            <a:r>
              <a:rPr lang="en-US" b="0" dirty="0">
                <a:sym typeface="Wingdings" panose="05000000000000000000" pitchFamily="2" charset="2"/>
              </a:rPr>
              <a:t> und </a:t>
            </a:r>
            <a:r>
              <a:rPr lang="en-US" b="0" dirty="0" err="1">
                <a:sym typeface="Wingdings" panose="05000000000000000000" pitchFamily="2" charset="2"/>
              </a:rPr>
              <a:t>Kommunikation</a:t>
            </a:r>
            <a:endParaRPr lang="en-US" b="0" dirty="0">
              <a:sym typeface="Wingdings" panose="05000000000000000000" pitchFamily="2" charset="2"/>
            </a:endParaRPr>
          </a:p>
          <a:p>
            <a:pPr marL="717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ym typeface="Wingdings" panose="05000000000000000000" pitchFamily="2" charset="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Unsere R&amp;D-Innovationszentren: Japan -&gt; Tokio, Deutschland -&gt; München, China, Indien, Italien, USA und ein umfassendes für die EMEAL-Reg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  <a:t>R&amp;D Investitionen im Jahr 2022 -&gt; Ausgaben im Verhältnis zu Umsatzerlösen (3,6 Milliarden zu 108 Milliarden -&gt; 3,3 %); 5.000 Mitarbeitende im R&amp;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400" b="0" i="0" u="none" strike="noStrike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  <a:p>
            <a:pPr algn="l" rtl="0" fontAlgn="base"/>
            <a: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Links zu Patenten</a:t>
            </a:r>
            <a: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​</a:t>
            </a:r>
            <a:b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3"/>
              </a:rPr>
              <a:t>https://www.ntt-tx.com/products/</a:t>
            </a:r>
            <a:r>
              <a:rPr lang="de-DE" sz="1800" b="0" i="0" u="none" strike="noStrike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 (NTT </a:t>
            </a:r>
            <a:r>
              <a:rPr lang="de-DE" sz="1800" b="0" i="0" u="none" strike="noStrike" dirty="0" err="1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TechnoCross</a:t>
            </a:r>
            <a:r>
              <a:rPr lang="de-DE" sz="1800" b="0" i="0" u="none" strike="noStrike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)</a:t>
            </a:r>
            <a:r>
              <a:rPr lang="en-US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4"/>
              </a:rPr>
              <a:t>https://www.ntt-at.com/product/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5"/>
              </a:rPr>
              <a:t>https://www.ntt-review.jp/archive/ntttechnical.php?contents=ntr200706ip1.pdf&amp;mode=show_pdf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6"/>
              </a:rPr>
              <a:t>https://www.ntt-review.jp/</a:t>
            </a:r>
            <a:r>
              <a:rPr lang="de-DE" sz="1800" b="0" i="0" dirty="0">
                <a:solidFill>
                  <a:srgbClr val="404040"/>
                </a:solidFill>
                <a:effectLst/>
                <a:latin typeface="Roboto" panose="02000000000000000000" pitchFamily="2" charset="0"/>
              </a:rPr>
              <a:t>​</a:t>
            </a:r>
            <a:endParaRPr lang="de-DE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de-DE" sz="1400" b="0" i="0" kern="120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  <a:sym typeface="Wingdings" panose="05000000000000000000" pitchFamily="2" charset="2"/>
              </a:rPr>
            </a:br>
            <a: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  <a:t>Vatikanische Bibliothek</a:t>
            </a:r>
            <a:b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br>
              <a:rPr lang="de-DE" sz="1800" b="1" i="0" u="none" strike="noStrike" dirty="0">
                <a:solidFill>
                  <a:srgbClr val="1D3857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7"/>
              </a:rPr>
              <a:t>https://de.nttdata.com/newsroom/2023/ntt-data-und-vatikanische-bibliothek-staerken-online-communities-mit-web3-nft-technologien</a:t>
            </a: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r>
              <a:rPr lang="de-DE" sz="1800" b="1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  <a:t>BMW</a:t>
            </a:r>
            <a:br>
              <a:rPr lang="de-DE" sz="1800" b="1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b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</a:rPr>
            </a:br>
            <a:r>
              <a:rPr lang="de-DE" sz="1800" b="0" i="0" u="sng" strike="noStrike" dirty="0">
                <a:solidFill>
                  <a:srgbClr val="6785C1"/>
                </a:solidFill>
                <a:effectLst/>
                <a:latin typeface="Roboto" panose="02000000000000000000" pitchFamily="2" charset="0"/>
                <a:hlinkClick r:id="rId8"/>
              </a:rPr>
              <a:t>https://de.nttdata.com/insights/blog/bmw-und-ntt-data-eine-globale-partnerschaft</a:t>
            </a:r>
            <a:endParaRPr lang="de-DE" sz="1400" b="0" i="0" kern="1200" baseline="0" dirty="0">
              <a:solidFill>
                <a:schemeClr val="tx2"/>
              </a:solidFill>
              <a:effectLst/>
              <a:latin typeface="+mn-lt"/>
              <a:ea typeface="+mn-ea"/>
              <a:cs typeface="+mn-cs"/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378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400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8607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Availability z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Data centers are buildings within an availability zone where the physical infrastructure resides.</a:t>
            </a:r>
          </a:p>
          <a:p>
            <a:r>
              <a:rPr lang="en-US" sz="1400" dirty="0"/>
              <a:t>If a disaster hits an availability zone, other availability zones in the same region will keep working without interruption.</a:t>
            </a:r>
          </a:p>
          <a:p>
            <a:endParaRPr lang="en-US" sz="1400" dirty="0"/>
          </a:p>
          <a:p>
            <a:r>
              <a:rPr lang="en-US" sz="1400" dirty="0"/>
              <a:t>Virtual Private Clou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VPCs enable the logical separation of resources so that every customer can only control their ow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 useful analogy to the cloud split into VPCs would be a building split into apartments that are rented to tena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095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400" dirty="0"/>
              <a:t>A user that wants to perform an 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operation requiring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isation</a:t>
            </a:r>
            <a:r>
              <a:rPr lang="en-US" sz="1400" dirty="0"/>
              <a:t> can either be assigned the needed access policy directly, through a user group or assume a role, to which the needed access policy is attached.</a:t>
            </a:r>
          </a:p>
          <a:p>
            <a:pPr algn="l"/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l"/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Advanced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topics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de-DE" sz="1800" b="0" i="0" u="none" strike="noStrike" baseline="0" dirty="0" err="1">
                <a:latin typeface="Myriad Pro SemiCond"/>
              </a:rPr>
              <a:t>Temporary</a:t>
            </a:r>
            <a:r>
              <a:rPr lang="de-DE" sz="1800" b="0" i="0" u="none" strike="noStrike" baseline="0" dirty="0">
                <a:latin typeface="Myriad Pro SemiCond"/>
              </a:rPr>
              <a:t> Security </a:t>
            </a:r>
            <a:r>
              <a:rPr lang="de-DE" sz="1800" b="0" i="0" u="none" strike="noStrike" baseline="0" dirty="0" err="1">
                <a:latin typeface="Myriad Pro SemiCond"/>
              </a:rPr>
              <a:t>Credentials</a:t>
            </a:r>
            <a:r>
              <a:rPr lang="de-DE" sz="1800" b="1" i="0" u="none" strike="noStrike" baseline="0" dirty="0">
                <a:latin typeface="Myriad Pro SemiCond"/>
              </a:rPr>
              <a:t>, </a:t>
            </a:r>
            <a:r>
              <a:rPr lang="en-US" sz="1800" b="0" i="0" u="none" strike="noStrike" baseline="0" dirty="0">
                <a:latin typeface="Adobe Garamond Pro"/>
              </a:rPr>
              <a:t>AWS Security Token Service (STS)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585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ll that you need for the AWS CLI exercises is a (temporary) AWS account with an account number, an AWS_ACCESS_KEY_ID, and an AWS_SECRET_ACCESS_KE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de-DE" sz="1400" dirty="0"/>
            </a:br>
            <a:r>
              <a:rPr lang="de-DE" sz="1400" dirty="0" err="1"/>
              <a:t>You</a:t>
            </a:r>
            <a:r>
              <a:rPr lang="de-DE" sz="1400" dirty="0"/>
              <a:t> </a:t>
            </a:r>
            <a:r>
              <a:rPr lang="de-DE" sz="1400" dirty="0" err="1"/>
              <a:t>ca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instance</a:t>
            </a:r>
            <a:r>
              <a:rPr lang="de-DE" sz="1400" dirty="0"/>
              <a:t> </a:t>
            </a:r>
            <a:r>
              <a:rPr lang="de-DE" sz="1400" dirty="0" err="1"/>
              <a:t>create</a:t>
            </a:r>
            <a:r>
              <a:rPr lang="de-DE" sz="1400" dirty="0"/>
              <a:t> an AWS </a:t>
            </a:r>
            <a:r>
              <a:rPr lang="de-DE" sz="1400" dirty="0" err="1"/>
              <a:t>free</a:t>
            </a:r>
            <a:r>
              <a:rPr lang="de-DE" sz="1400" dirty="0"/>
              <a:t> </a:t>
            </a:r>
            <a:r>
              <a:rPr lang="de-DE" sz="1400" dirty="0" err="1"/>
              <a:t>tier</a:t>
            </a:r>
            <a:r>
              <a:rPr lang="de-DE" sz="1400" dirty="0"/>
              <a:t> </a:t>
            </a:r>
            <a:r>
              <a:rPr lang="de-DE" sz="1400" dirty="0" err="1"/>
              <a:t>account</a:t>
            </a:r>
            <a:r>
              <a:rPr lang="de-DE" sz="1400" dirty="0"/>
              <a:t>:</a:t>
            </a:r>
            <a:br>
              <a:rPr lang="de-DE" sz="1400" dirty="0"/>
            </a:br>
            <a:r>
              <a:rPr lang="de-DE" sz="1400" dirty="0">
                <a:hlinkClick r:id="rId3"/>
              </a:rPr>
              <a:t>https://aws.amazon.com/free/</a:t>
            </a:r>
            <a:br>
              <a:rPr lang="de-DE" sz="1400" dirty="0"/>
            </a:br>
            <a:br>
              <a:rPr lang="de-DE" sz="1400" dirty="0"/>
            </a:br>
            <a:r>
              <a:rPr lang="de-DE" sz="1400" dirty="0" err="1"/>
              <a:t>or</a:t>
            </a:r>
            <a:r>
              <a:rPr lang="de-DE" sz="1400" dirty="0"/>
              <a:t> open a </a:t>
            </a:r>
            <a:r>
              <a:rPr lang="de-DE" sz="1400" dirty="0" err="1"/>
              <a:t>cloud</a:t>
            </a:r>
            <a:r>
              <a:rPr lang="de-DE" sz="1400" dirty="0"/>
              <a:t> </a:t>
            </a:r>
            <a:r>
              <a:rPr lang="de-DE" sz="1400" dirty="0" err="1"/>
              <a:t>sandbox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</a:t>
            </a:r>
            <a:r>
              <a:rPr lang="de-DE" sz="1400" dirty="0"/>
              <a:t>: </a:t>
            </a:r>
            <a:br>
              <a:rPr lang="de-DE" sz="1400" dirty="0"/>
            </a:br>
            <a:r>
              <a:rPr lang="de-DE" sz="1400" dirty="0">
                <a:hlinkClick r:id="rId4"/>
              </a:rPr>
              <a:t>https://learn.acloud.guru/cloud-playground/cloud-sandboxes</a:t>
            </a:r>
            <a:br>
              <a:rPr lang="de-DE" sz="1400" dirty="0"/>
            </a:br>
            <a:br>
              <a:rPr lang="de-DE" sz="1400" dirty="0"/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A Cloud Guru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sandbox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ome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with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ertai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limitations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For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exampl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you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ca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only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us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0" i="0" dirty="0" err="1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region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us-east-1 or us-east-2.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5"/>
              </a:rPr>
              <a:t>https://help.pluralsight.com/help/aws-sandbox</a:t>
            </a:r>
            <a:b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en-US" sz="14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Git Bash for </a:t>
            </a:r>
            <a:r>
              <a:rPr lang="en-US" sz="14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ndows</a:t>
            </a:r>
            <a:endParaRPr lang="en-US" sz="14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6"/>
              </a:rPr>
              <a:t>https://gitforwindows.org/</a:t>
            </a:r>
            <a:endParaRPr lang="en-US" sz="14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br>
              <a:rPr lang="de-DE" sz="1400" dirty="0"/>
            </a:br>
            <a:r>
              <a:rPr lang="de-DE" sz="1400" dirty="0"/>
              <a:t>AWS </a:t>
            </a:r>
            <a:r>
              <a:rPr lang="de-DE" sz="1400" dirty="0" err="1"/>
              <a:t>CloudShell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auto-</a:t>
            </a:r>
            <a:r>
              <a:rPr lang="de-DE" sz="1400" dirty="0" err="1"/>
              <a:t>completion</a:t>
            </a:r>
            <a:br>
              <a:rPr lang="de-DE" sz="1400" dirty="0"/>
            </a:br>
            <a:r>
              <a:rPr lang="de-DE" sz="1400" dirty="0">
                <a:hlinkClick r:id="rId7"/>
              </a:rPr>
              <a:t>https://github.com/awslabs/aws-shell</a:t>
            </a:r>
            <a:endParaRPr lang="de-DE" sz="1400" dirty="0"/>
          </a:p>
          <a:p>
            <a:endParaRPr lang="de-DE" sz="1400" dirty="0"/>
          </a:p>
          <a:p>
            <a:r>
              <a:rPr lang="en-US" sz="1400" dirty="0"/>
              <a:t>AWS </a:t>
            </a:r>
            <a:r>
              <a:rPr lang="en-US" sz="1400" dirty="0" err="1"/>
              <a:t>cheatsheets</a:t>
            </a:r>
            <a:r>
              <a:rPr lang="en-US" sz="1400" dirty="0"/>
              <a:t> and more</a:t>
            </a:r>
          </a:p>
          <a:p>
            <a:r>
              <a:rPr lang="en-US" sz="1400" dirty="0">
                <a:hlinkClick r:id="rId8"/>
              </a:rPr>
              <a:t>https://blog.awsfundamentals.com/</a:t>
            </a:r>
            <a:endParaRPr lang="en-US" sz="1400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4556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The 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omain Name System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 (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NS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) is the phonebook of the Interne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815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fobox">
            <a:extLst>
              <a:ext uri="{FF2B5EF4-FFF2-40B4-BE49-F238E27FC236}">
                <a16:creationId xmlns:a16="http://schemas.microsoft.com/office/drawing/2014/main" id="{A9C6AF59-6EED-3416-511A-B314E0EE63F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86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7082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620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746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TT DATA Global Logo" descr="NTT DATA Global Logo">
            <a:extLst>
              <a:ext uri="{FF2B5EF4-FFF2-40B4-BE49-F238E27FC236}">
                <a16:creationId xmlns:a16="http://schemas.microsoft.com/office/drawing/2014/main" id="{1EBC00AC-526A-BABC-83AE-F67621E1E0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2960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7B0343A7-692E-9A5C-000C-09C7000C25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978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8043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B0FF4D30-C4DE-78F2-3D48-354836D3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1069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28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F41C78E2-9EE1-603A-2322-408F1E0B72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3091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446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759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mart Navy SemiTrans Overlay">
            <a:extLst>
              <a:ext uri="{FF2B5EF4-FFF2-40B4-BE49-F238E27FC236}">
                <a16:creationId xmlns:a16="http://schemas.microsoft.com/office/drawing/2014/main" id="{AF78DDA9-31A8-60A3-A960-43C5D58947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2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63E40692-6E2C-D257-5733-3F906BFAD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0003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19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169586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113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29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189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D4BBE3-A891-40CD-B768-EDC2FC71C6F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469FC3-455C-464A-85D3-22AABA0A7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© 2021 NTT DATA Corpo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18B0DC-2ADD-41A0-801D-C1829B8B7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3CE6DAF-806F-404B-BC68-339BFCB57E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4090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3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9170702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1CC0D1FB-3B96-6150-0982-63EA4CD56D4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71475" y="885411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Innovationcurve">
            <a:extLst>
              <a:ext uri="{FF2B5EF4-FFF2-40B4-BE49-F238E27FC236}">
                <a16:creationId xmlns:a16="http://schemas.microsoft.com/office/drawing/2014/main" id="{4F36A33C-FAA3-F6C8-F22D-B227F70722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41600" y="0"/>
            <a:ext cx="4550400" cy="6858000"/>
          </a:xfrm>
          <a:prstGeom prst="rect">
            <a:avLst/>
          </a:prstGeom>
          <a:blipFill>
            <a:blip r:embed="rId3"/>
            <a:stretch>
              <a:fillRect l="-1" r="-155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8749119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3" name="Info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4799355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novationcurve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025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9F6DF13-500C-7129-4398-DDCA3991550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475" y="899720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794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41424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251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4111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3108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295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3795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1892377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7546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0155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777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6004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25906057-6ECF-0CCD-A45A-6FE5F783D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196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55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0417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dirty="0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8642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nnovation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15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en-US" noProof="0" dirty="0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228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Innovationcurve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7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29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06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7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03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image" Target="../media/image15.svg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theme" Target="../theme/theme2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4" name="Object Align" hidden="1">
            <a:extLst>
              <a:ext uri="{FF2B5EF4-FFF2-40B4-BE49-F238E27FC236}">
                <a16:creationId xmlns:a16="http://schemas.microsoft.com/office/drawing/2014/main" id="{2409C08C-6580-A845-A257-7F092F05A48D}"/>
              </a:ext>
            </a:extLst>
          </p:cNvPr>
          <p:cNvGraphicFramePr>
            <a:graphicFrameLocks noGrp="1" noDrilldown="1" noMove="1" noResize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76471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299" imgH="299" progId="TCLayout.ActiveDocument.1">
                  <p:embed/>
                </p:oleObj>
              </mc:Choice>
              <mc:Fallback>
                <p:oleObj name="think-cell Folie" r:id="rId30" imgW="299" imgH="299" progId="TCLayout.ActiveDocument.1">
                  <p:embed/>
                  <p:pic>
                    <p:nvPicPr>
                      <p:cNvPr id="4" name="Object Align" hidden="1">
                        <a:extLst>
                          <a:ext uri="{FF2B5EF4-FFF2-40B4-BE49-F238E27FC236}">
                            <a16:creationId xmlns:a16="http://schemas.microsoft.com/office/drawing/2014/main" id="{2409C08C-6580-A845-A257-7F092F05A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214B053-F1CA-C974-E3B1-394A570264F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69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76" r:id="rId2"/>
    <p:sldLayoutId id="2147483725" r:id="rId3"/>
    <p:sldLayoutId id="2147483726" r:id="rId4"/>
    <p:sldLayoutId id="2147483775" r:id="rId5"/>
    <p:sldLayoutId id="2147483687" r:id="rId6"/>
    <p:sldLayoutId id="2147483650" r:id="rId7"/>
    <p:sldLayoutId id="2147483698" r:id="rId8"/>
    <p:sldLayoutId id="2147483771" r:id="rId9"/>
    <p:sldLayoutId id="2147483731" r:id="rId10"/>
    <p:sldLayoutId id="2147483773" r:id="rId11"/>
    <p:sldLayoutId id="2147483774" r:id="rId12"/>
    <p:sldLayoutId id="2147483678" r:id="rId13"/>
    <p:sldLayoutId id="2147483777" r:id="rId14"/>
    <p:sldLayoutId id="2147483732" r:id="rId15"/>
    <p:sldLayoutId id="2147483734" r:id="rId16"/>
    <p:sldLayoutId id="2147483765" r:id="rId17"/>
    <p:sldLayoutId id="2147483691" r:id="rId18"/>
    <p:sldLayoutId id="2147483735" r:id="rId19"/>
    <p:sldLayoutId id="2147483679" r:id="rId20"/>
    <p:sldLayoutId id="2147483729" r:id="rId21"/>
    <p:sldLayoutId id="2147483718" r:id="rId22"/>
    <p:sldLayoutId id="2147483737" r:id="rId23"/>
    <p:sldLayoutId id="2147483736" r:id="rId24"/>
    <p:sldLayoutId id="2147483778" r:id="rId2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8" pos="7446" userDrawn="1">
          <p15:clr>
            <a:srgbClr val="F26B43"/>
          </p15:clr>
        </p15:guide>
        <p15:guide id="9" pos="2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NTT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3" name="Object Align" hidden="1">
            <a:extLst>
              <a:ext uri="{FF2B5EF4-FFF2-40B4-BE49-F238E27FC236}">
                <a16:creationId xmlns:a16="http://schemas.microsoft.com/office/drawing/2014/main" id="{1B3A0C6D-49EF-F306-1DED-9E8A6FD94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9728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299" imgH="299" progId="TCLayout.ActiveDocument.1">
                  <p:embed/>
                </p:oleObj>
              </mc:Choice>
              <mc:Fallback>
                <p:oleObj name="think-cell Folie" r:id="rId27" imgW="299" imgH="299" progId="TCLayout.ActiveDocument.1">
                  <p:embed/>
                  <p:pic>
                    <p:nvPicPr>
                      <p:cNvPr id="3" name="Object Align" hidden="1">
                        <a:extLst>
                          <a:ext uri="{FF2B5EF4-FFF2-40B4-BE49-F238E27FC236}">
                            <a16:creationId xmlns:a16="http://schemas.microsoft.com/office/drawing/2014/main" id="{1B3A0C6D-49EF-F306-1DED-9E8A6FD94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328821C-AA1D-0DC2-DAE3-55DCF15FFBA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67" r:id="rId3"/>
    <p:sldLayoutId id="2147483768" r:id="rId4"/>
    <p:sldLayoutId id="2147483750" r:id="rId5"/>
    <p:sldLayoutId id="2147483751" r:id="rId6"/>
    <p:sldLayoutId id="2147483752" r:id="rId7"/>
    <p:sldLayoutId id="2147483770" r:id="rId8"/>
    <p:sldLayoutId id="2147483754" r:id="rId9"/>
    <p:sldLayoutId id="2147483769" r:id="rId10"/>
    <p:sldLayoutId id="2147483772" r:id="rId11"/>
    <p:sldLayoutId id="2147483755" r:id="rId12"/>
    <p:sldLayoutId id="2147483756" r:id="rId13"/>
    <p:sldLayoutId id="2147483757" r:id="rId14"/>
    <p:sldLayoutId id="2147483764" r:id="rId15"/>
    <p:sldLayoutId id="2147483758" r:id="rId16"/>
    <p:sldLayoutId id="2147483760" r:id="rId17"/>
    <p:sldLayoutId id="2147483761" r:id="rId18"/>
    <p:sldLayoutId id="2147483762" r:id="rId19"/>
    <p:sldLayoutId id="2147483746" r:id="rId20"/>
    <p:sldLayoutId id="2147483747" r:id="rId21"/>
    <p:sldLayoutId id="2147483748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com/Nick36" TargetMode="External"/><Relationship Id="rId4" Type="http://schemas.openxmlformats.org/officeDocument/2006/relationships/hyperlink" Target="https://www.linkedin.com/in/nikolay-paleshnikov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ws.amazon.com/cli/latest/" TargetMode="External"/><Relationship Id="rId3" Type="http://schemas.openxmlformats.org/officeDocument/2006/relationships/hyperlink" Target="https://scoop.sh/" TargetMode="External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29.svg"/><Relationship Id="rId4" Type="http://schemas.openxmlformats.org/officeDocument/2006/relationships/hyperlink" Target="https://docs.aws.amazon.com/cli/latest/userguide/getting-started-install.html" TargetMode="External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Placeholder 8" descr="A group of tall buildings&#10;&#10;Description automatically generated with low confidence">
            <a:extLst>
              <a:ext uri="{FF2B5EF4-FFF2-40B4-BE49-F238E27FC236}">
                <a16:creationId xmlns:a16="http://schemas.microsoft.com/office/drawing/2014/main" id="{800A731B-0CAB-C86A-7FE3-8CF79482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" b="25"/>
          <a:stretch/>
        </p:blipFill>
        <p:spPr>
          <a:xfrm>
            <a:off x="0" y="0"/>
            <a:ext cx="12192000" cy="6857999"/>
          </a:xfrm>
        </p:spPr>
      </p:pic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3AD4169A-353F-F752-5857-1818800D9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95292CFB-653E-C75E-3F0F-7CD335BB2E5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AC1994AA-CB19-824C-CBCD-5A58B9CE6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048" y="2438400"/>
            <a:ext cx="4793932" cy="1371600"/>
          </a:xfrm>
        </p:spPr>
        <p:txBody>
          <a:bodyPr/>
          <a:lstStyle/>
          <a:p>
            <a:r>
              <a:rPr lang="de-DE" dirty="0"/>
              <a:t>AWS Crash Course</a:t>
            </a:r>
            <a:endParaRPr lang="en-US" dirty="0"/>
          </a:p>
        </p:txBody>
      </p:sp>
      <p:sp>
        <p:nvSpPr>
          <p:cNvPr id="38" name="Subtitle 37">
            <a:extLst>
              <a:ext uri="{FF2B5EF4-FFF2-40B4-BE49-F238E27FC236}">
                <a16:creationId xmlns:a16="http://schemas.microsoft.com/office/drawing/2014/main" id="{518A9044-FD95-9A66-EFCA-6ABFC2B73D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0048" y="3810000"/>
            <a:ext cx="4793932" cy="353943"/>
          </a:xfrm>
        </p:spPr>
        <p:txBody>
          <a:bodyPr/>
          <a:lstStyle/>
          <a:p>
            <a:r>
              <a:rPr lang="en-US" dirty="0"/>
              <a:t>09.12.2023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57360E61-5E7E-2B1B-85CB-267BE97805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B2173F72-F59E-01D8-EB4D-1B5EA8F1CD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D7A08F-E141-B73A-5F9D-A6C37E988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00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Elastic Container Registry (ECR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Docker container registry that simplifie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he storage, management, and deployment of Docker container imag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Container Service (EC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light-weight container orchestration servic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Kubernetes Service (EK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Kubernetes service for container orchestration at sca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43AC338D-FB19-F7D9-8057-9E87AB654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858630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Relational Database Service (RD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database service that support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st SQL database engin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uror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proprietary relational database service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with full MySQL and PostgreSQL compatibilit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then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serverless, interactive data lake analytics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229226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Kinesi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cesses and analyzes real-time data and data stream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Queue Service (SQ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message queuing system for microservices,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d systems, and serverless application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Notification Service (SNS)</a:t>
            </a:r>
            <a:br>
              <a:rPr lang="en-US" sz="1800" b="1" dirty="0"/>
            </a:br>
            <a:r>
              <a:rPr lang="en-US" sz="1800" dirty="0"/>
              <a:t>A publish-subscribe messaging system with e-mail and SMS integration.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745683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ogito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vides user sing-up and sing-in functionality as well a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n identity store for customer identity and access management.</a:t>
            </a:r>
            <a:br>
              <a:rPr lang="en-US" sz="1800" b="1" dirty="0"/>
            </a:b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Watch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nitors all AWS resources and applications in the account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Trail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Logs all API calls made on the account to help with change tracking, </a:t>
            </a:r>
            <a:br>
              <a:rPr lang="en-US" sz="1800" dirty="0"/>
            </a:br>
            <a:r>
              <a:rPr lang="en-US" sz="1800" dirty="0"/>
              <a:t>security incident investigation, and complian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329545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Serverl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-native architecture is event-driv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 resources run only when needed, which means green softwar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rverless architecture allows developers to build and run services</a:t>
            </a:r>
            <a:br>
              <a:rPr lang="en-US" sz="1800" dirty="0"/>
            </a:br>
            <a:r>
              <a:rPr lang="en-US" sz="1800" dirty="0"/>
              <a:t>without having to manage the underlying infrastructur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Some of the most important serverless AWS services are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3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ynamoDB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PI Gateway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7B398053-BDA7-EB44-3CD7-8273CAF45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657231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imple Storage Service (S3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S3 provides highly available eventually consistent data storage in the cloud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t can also be used for hosting static websites and low-latency content distributio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Bucke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is is where objects are stored. Its name must be unique and DNS-compatibl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Buckets are replicated across several availability zones in the region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100 buckets per profile is the default limit. </a:t>
            </a:r>
          </a:p>
          <a:p>
            <a:pPr lvl="2"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efix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e path preceding the object nam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 prefix is similar in many ways to a folder.</a:t>
            </a:r>
          </a:p>
          <a:p>
            <a:pPr lvl="2">
              <a:lnSpc>
                <a:spcPct val="100000"/>
              </a:lnSpc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Objec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n object is a file and any metadata that describes that file. It can be up to 5 TB in siz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10485DC-97AA-C8DC-04AE-01F3F8EA0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2441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te bucket </a:t>
            </a:r>
            <a:r>
              <a:rPr lang="en-US" sz="1800" i="1" dirty="0"/>
              <a:t>s3-exercise-*****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S3 buckets in your accoun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files </a:t>
            </a:r>
            <a:r>
              <a:rPr lang="en-US" sz="1800" i="1" dirty="0"/>
              <a:t>cv.txt, cv.pdf and cv.log </a:t>
            </a:r>
            <a:r>
              <a:rPr lang="en-US" sz="1800" dirty="0"/>
              <a:t>and save them </a:t>
            </a:r>
            <a:br>
              <a:rPr lang="en-US" sz="1800" dirty="0"/>
            </a:br>
            <a:r>
              <a:rPr lang="en-US" sz="1800" dirty="0"/>
              <a:t>to the exercise bucket under </a:t>
            </a:r>
            <a:r>
              <a:rPr lang="en-US" sz="1800" i="1" dirty="0"/>
              <a:t>/application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bucket content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 err="1"/>
              <a:t>Synchronise</a:t>
            </a:r>
            <a:r>
              <a:rPr lang="en-US" sz="1800" dirty="0"/>
              <a:t> bucket contents with your local director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non-text files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files under the </a:t>
            </a:r>
            <a:r>
              <a:rPr lang="en-US" sz="1800" i="1" dirty="0"/>
              <a:t>/application </a:t>
            </a:r>
            <a:r>
              <a:rPr lang="en-US" sz="1800" dirty="0"/>
              <a:t>prefix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exercise bucket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F846688-6E01-BCC8-99B0-D16C7793A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7923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DynamoDB is a NoSQL database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Table</a:t>
            </a:r>
            <a:r>
              <a:rPr lang="en-US" sz="1800" dirty="0"/>
              <a:t>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collection of data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Item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group of attributes that is uniquely identifiable among all other item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tems in DynamoDB are similar in many ways to records or rows in other database systems.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n DynamoDB, there is no limit to the number of items store in a tabl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Attribut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ttributes in DynamoDB are similar in many ways to fields or columns in other database system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2A6E7223-D8B3-FC64-FF83-72FEA82FD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406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imary key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The primary key uniquely identifies each item in the table, </a:t>
            </a:r>
            <a:br>
              <a:rPr lang="en-US" sz="1800" dirty="0"/>
            </a:br>
            <a:r>
              <a:rPr lang="en-US" sz="1800" dirty="0"/>
              <a:t>so that no two items can have the same key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Simple primary keys have a single attribute: the </a:t>
            </a:r>
            <a:r>
              <a:rPr lang="en-US" sz="1800" b="1" dirty="0"/>
              <a:t>partition key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Composite primary key are composed of two attributes: </a:t>
            </a:r>
            <a:br>
              <a:rPr lang="en-US" sz="1800" dirty="0"/>
            </a:br>
            <a:r>
              <a:rPr lang="en-US" sz="1800" dirty="0"/>
              <a:t>the partition key and a </a:t>
            </a:r>
            <a:r>
              <a:rPr lang="en-US" sz="1800" b="1" dirty="0"/>
              <a:t>sort key</a:t>
            </a:r>
            <a:r>
              <a:rPr lang="en-US" sz="1800" dirty="0"/>
              <a:t>.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In a plain DynamoDB table, items can only be queried with their primary key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</a:t>
            </a:r>
            <a:r>
              <a:rPr lang="en-US" sz="1800" i="1" dirty="0"/>
              <a:t>secondary index</a:t>
            </a:r>
            <a:r>
              <a:rPr lang="en-US" sz="1800" dirty="0"/>
              <a:t> allows data queries with alternate keys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Global secondary index </a:t>
            </a:r>
            <a:r>
              <a:rPr lang="en-US" sz="1800" dirty="0"/>
              <a:t>– an index whose both partition key </a:t>
            </a:r>
            <a:br>
              <a:rPr lang="en-US" sz="1800" dirty="0"/>
            </a:br>
            <a:r>
              <a:rPr lang="en-US" sz="1800" dirty="0"/>
              <a:t>and sort key can be different from those of the primary key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Local secondary index</a:t>
            </a:r>
            <a:r>
              <a:rPr lang="en-US" sz="1800" dirty="0"/>
              <a:t> – an index that has the same partition </a:t>
            </a:r>
            <a:br>
              <a:rPr lang="en-US" sz="1800" dirty="0"/>
            </a:br>
            <a:r>
              <a:rPr lang="en-US" sz="1800" dirty="0"/>
              <a:t>key as the table, but a different sort key.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333E081-7B22-2C6C-F753-1ACA02439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8022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table </a:t>
            </a:r>
            <a:r>
              <a:rPr lang="en-US" sz="1800" i="1" dirty="0"/>
              <a:t>Music</a:t>
            </a:r>
            <a:r>
              <a:rPr lang="en-US" sz="1800" dirty="0"/>
              <a:t> with partition key </a:t>
            </a:r>
            <a:r>
              <a:rPr lang="en-US" sz="1800" i="1" dirty="0"/>
              <a:t>Artist 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and sort key </a:t>
            </a:r>
            <a:r>
              <a:rPr lang="en-US" sz="1800" i="1" dirty="0" err="1"/>
              <a:t>SongTitle</a:t>
            </a:r>
            <a:endParaRPr lang="en-US" sz="1800" i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table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dd a global secondary index </a:t>
            </a:r>
            <a:r>
              <a:rPr lang="en-US" sz="1800" i="1" dirty="0" err="1"/>
              <a:t>AlbumIndex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with hash attribute </a:t>
            </a:r>
            <a:r>
              <a:rPr lang="en-US" sz="1800" i="1" dirty="0" err="1"/>
              <a:t>AlbumTitle</a:t>
            </a:r>
            <a:r>
              <a:rPr lang="en-US" sz="1800" dirty="0"/>
              <a:t> to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scribe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t at least two items into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Update the album title of an item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et an item by ke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rtis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lbum tit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can the entire table into a JSON fi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n item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C71ABC-A334-7553-AED3-1901C3E9B89A}"/>
              </a:ext>
            </a:extLst>
          </p:cNvPr>
          <p:cNvSpPr txBox="1"/>
          <p:nvPr/>
        </p:nvSpPr>
        <p:spPr>
          <a:xfrm>
            <a:off x="4664710" y="3461717"/>
            <a:ext cx="7155815" cy="129266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Nota bene</a:t>
            </a:r>
            <a:r>
              <a:rPr lang="en-US" sz="1800" dirty="0">
                <a:solidFill>
                  <a:schemeClr val="tx1"/>
                </a:solidFill>
              </a:rPr>
              <a:t>: Always use a query instead of a scan with a filter expression! </a:t>
            </a:r>
            <a:r>
              <a:rPr lang="en-US" sz="1800" dirty="0"/>
              <a:t>The scan command is not only slow but also costly, as you will be charged for every scanned item. If you perform a query instead, you will only be charged for the matched results.</a:t>
            </a:r>
          </a:p>
        </p:txBody>
      </p:sp>
      <p:pic>
        <p:nvPicPr>
          <p:cNvPr id="5" name="Picture 4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382C0AF9-32A8-BD80-EDA6-9A9A666DDA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0158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A9F0924-0AA3-46D4-6B13-9F02C10D1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anchor="t">
            <a:normAutofit/>
          </a:bodyPr>
          <a:lstStyle/>
          <a:p>
            <a:r>
              <a:rPr lang="en-US" b="0" kern="1200"/>
              <a:t>Introduction</a:t>
            </a:r>
            <a:endParaRPr lang="de-DE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F6EFAAA8-E7D6-D439-C765-1B8A47593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BEA9C31-7E4F-B597-D7FA-2D6579DB1F15}"/>
              </a:ext>
            </a:extLst>
          </p:cNvPr>
          <p:cNvSpPr txBox="1"/>
          <p:nvPr/>
        </p:nvSpPr>
        <p:spPr>
          <a:xfrm>
            <a:off x="2010138" y="4523975"/>
            <a:ext cx="45719" cy="4571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endParaRPr lang="de-DE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2534AA-983F-538E-33BC-B649E0AF1853}"/>
              </a:ext>
            </a:extLst>
          </p:cNvPr>
          <p:cNvSpPr txBox="1"/>
          <p:nvPr/>
        </p:nvSpPr>
        <p:spPr>
          <a:xfrm>
            <a:off x="371475" y="1969091"/>
            <a:ext cx="4968151" cy="4863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6012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520" kern="1200">
                <a:solidFill>
                  <a:srgbClr val="404040"/>
                </a:solidFill>
                <a:latin typeface="+mj-lt"/>
                <a:ea typeface="Roboto"/>
                <a:cs typeface="+mn-cs"/>
              </a:rPr>
              <a:t>What do they have in common?</a:t>
            </a: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j-lt"/>
              <a:ea typeface="Roboto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1855E5-7385-7E3F-F7AE-C80DB0CDCC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1407" y="3212489"/>
            <a:ext cx="2307054" cy="2307054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B6B8C8-4AF1-957A-A322-2B30C2D1F4E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90414" y="3050960"/>
            <a:ext cx="2630111" cy="2630111"/>
          </a:xfrm>
          <a:prstGeom prst="rect">
            <a:avLst/>
          </a:prstGeom>
          <a:noFill/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600D70A0-A456-6047-2B60-F28CF05BE87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6667" r="16667"/>
          <a:stretch/>
        </p:blipFill>
        <p:spPr>
          <a:xfrm>
            <a:off x="992399" y="3233255"/>
            <a:ext cx="2307054" cy="2307054"/>
          </a:xfrm>
          <a:prstGeom prst="flowChartConnector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8028039A-5B0F-62DE-49EA-D42D1382E1FD}"/>
              </a:ext>
            </a:extLst>
          </p:cNvPr>
          <p:cNvSpPr/>
          <p:nvPr/>
        </p:nvSpPr>
        <p:spPr>
          <a:xfrm>
            <a:off x="983689" y="3212489"/>
            <a:ext cx="2307054" cy="2375984"/>
          </a:xfrm>
          <a:prstGeom prst="rect">
            <a:avLst/>
          </a:prstGeom>
          <a:solidFill>
            <a:srgbClr val="FFFFFF">
              <a:alpha val="6549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 defTabSz="960120">
              <a:spcBef>
                <a:spcPts val="630"/>
              </a:spcBef>
            </a:pPr>
            <a:r>
              <a:rPr lang="de-DE" sz="378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40.000</a:t>
            </a:r>
            <a:endParaRPr lang="de-DE" sz="36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902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s are serverless functions that enable code execution</a:t>
            </a:r>
            <a:br>
              <a:rPr lang="en-US" sz="1800" dirty="0"/>
            </a:br>
            <a:r>
              <a:rPr lang="en-US" sz="1800" dirty="0"/>
              <a:t>in response to events without the need to manage server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y greatly simplify application development and can </a:t>
            </a:r>
            <a:br>
              <a:rPr lang="en-US" sz="1800" dirty="0"/>
            </a:br>
            <a:r>
              <a:rPr lang="en-US" sz="1800" dirty="0"/>
              <a:t>significantly reduce operational overhead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nstances of cloud functions are added and removed dynamically</a:t>
            </a:r>
            <a:br>
              <a:rPr lang="en-US" sz="1800" dirty="0"/>
            </a:br>
            <a:r>
              <a:rPr lang="en-US" sz="1800" dirty="0"/>
              <a:t>to achieve better scalability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When a new instance handles its first request, the response time increases, </a:t>
            </a:r>
            <a:br>
              <a:rPr lang="en-US" sz="1800" dirty="0"/>
            </a:br>
            <a:r>
              <a:rPr lang="en-US" sz="1800" dirty="0"/>
              <a:t>which is called a cold start or start-up latenc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cold start comprises the following steps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Fetch the code from external persistent storag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pin up a containe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oad the code in memor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un the function’s handler metho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240ECB-592A-A2FE-AA2A-19E71E7890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9310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 Limit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Runtime Environment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ephemeral disk space is limited to 512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emory range is from 128 to 1024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default deployment package size is 5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ximum execution timeout for a function is 15 minutes.</a:t>
            </a: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Requests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quest and response (synchronous calls) body payload size can be up to 6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vent request (asynchronous calls) size can be up to 256 KB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C19F9FE-D567-B371-050C-83B6864C8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865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takes a name and returns </a:t>
            </a:r>
            <a:r>
              <a:rPr lang="en-US" sz="1800" i="1" dirty="0"/>
              <a:t>Hello {name}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writes a string from user input to an S3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stores a new item from user input into DynamoDB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Upload the Lambda functions to AWS and test them. Don’t forget to delete all resources in the end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You can program in your </a:t>
            </a:r>
            <a:r>
              <a:rPr lang="en-US" sz="1800" dirty="0" err="1"/>
              <a:t>favourite</a:t>
            </a:r>
            <a:r>
              <a:rPr lang="en-US" sz="1800" dirty="0"/>
              <a:t> languag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110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PI Gatewa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API gateway can be used for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blish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intain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onitoring, and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curi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HTTP-based RESTful API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355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n API gateway to manage a DynamoDB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PI gateways for your Lambda func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401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 dirty="0"/>
              <a:t>Further Steps and Feedback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Picture 4" descr="A diagram of a company's certification&#10;&#10;Description automatically generated">
            <a:extLst>
              <a:ext uri="{FF2B5EF4-FFF2-40B4-BE49-F238E27FC236}">
                <a16:creationId xmlns:a16="http://schemas.microsoft.com/office/drawing/2014/main" id="{C27E638F-5853-DCFC-A898-DE385FDDB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958" y="901124"/>
            <a:ext cx="9146084" cy="505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71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4">
            <a:extLst>
              <a:ext uri="{FF2B5EF4-FFF2-40B4-BE49-F238E27FC236}">
                <a16:creationId xmlns:a16="http://schemas.microsoft.com/office/drawing/2014/main" id="{AD5ECCA4-7233-7558-F351-2DB6B73EF1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5">
            <a:extLst>
              <a:ext uri="{FF2B5EF4-FFF2-40B4-BE49-F238E27FC236}">
                <a16:creationId xmlns:a16="http://schemas.microsoft.com/office/drawing/2014/main" id="{0F1E3A14-CDF4-E53C-DB86-6554D71AC4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306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6CD8D5-44AA-2CEF-210E-9D16027BA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anchor="t">
            <a:normAutofit/>
          </a:bodyPr>
          <a:lstStyle/>
          <a:p>
            <a:r>
              <a:rPr lang="en-US" b="0" kern="1200"/>
              <a:t>Introduction</a:t>
            </a:r>
            <a:endParaRPr lang="de-DE"/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2B5F517D-0A6B-B6A2-A7E6-E9672A30C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710BB67-75D7-D2A4-65F2-0D53A53379D0}"/>
              </a:ext>
            </a:extLst>
          </p:cNvPr>
          <p:cNvSpPr txBox="1"/>
          <p:nvPr/>
        </p:nvSpPr>
        <p:spPr>
          <a:xfrm>
            <a:off x="371475" y="2361265"/>
            <a:ext cx="3764610" cy="25847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 defTabSz="850392">
              <a:spcBef>
                <a:spcPts val="558"/>
              </a:spcBef>
            </a:pPr>
            <a:r>
              <a:rPr lang="de-DE" sz="5580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17.000 +</a:t>
            </a:r>
            <a:endParaRPr lang="de-DE" sz="6000" b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834AD0C-D27C-3301-5868-6BA4F7EDF124}"/>
              </a:ext>
            </a:extLst>
          </p:cNvPr>
          <p:cNvSpPr txBox="1"/>
          <p:nvPr/>
        </p:nvSpPr>
        <p:spPr>
          <a:xfrm>
            <a:off x="4176915" y="2347502"/>
            <a:ext cx="3764610" cy="25847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pPr defTabSz="850392">
              <a:spcBef>
                <a:spcPts val="558"/>
              </a:spcBef>
            </a:pPr>
            <a:r>
              <a:rPr lang="de-DE" sz="5580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7</a:t>
            </a:r>
            <a:endParaRPr lang="de-DE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01AA6DB-2391-A41E-9C51-EA773752E925}"/>
              </a:ext>
            </a:extLst>
          </p:cNvPr>
          <p:cNvSpPr txBox="1"/>
          <p:nvPr/>
        </p:nvSpPr>
        <p:spPr>
          <a:xfrm>
            <a:off x="8055915" y="2347501"/>
            <a:ext cx="3764610" cy="258471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pPr defTabSz="850392">
              <a:spcBef>
                <a:spcPts val="558"/>
              </a:spcBef>
            </a:pPr>
            <a:r>
              <a:rPr lang="de-DE" sz="5580" b="1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4 %</a:t>
            </a:r>
            <a:endParaRPr lang="de-DE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03DAFE4-CB09-4D9C-A3C2-2C10A31761D5}"/>
              </a:ext>
            </a:extLst>
          </p:cNvPr>
          <p:cNvSpPr txBox="1"/>
          <p:nvPr/>
        </p:nvSpPr>
        <p:spPr>
          <a:xfrm>
            <a:off x="951729" y="4233679"/>
            <a:ext cx="2718008" cy="132925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1050" b="0" i="0">
                <a:solidFill>
                  <a:srgbClr val="393939"/>
                </a:solidFill>
                <a:effectLst/>
                <a:latin typeface="Noto Sans"/>
              </a:defRPr>
            </a:lvl1pPr>
          </a:lstStyle>
          <a:p>
            <a:pPr defTabSz="850392">
              <a:spcBef>
                <a:spcPts val="558"/>
              </a:spcBef>
            </a:pPr>
            <a:r>
              <a:rPr lang="de-DE" sz="2604" b="0" i="0" kern="1200">
                <a:solidFill>
                  <a:srgbClr val="393939"/>
                </a:solidFill>
                <a:effectLst/>
                <a:latin typeface="Roboto"/>
                <a:ea typeface="Roboto"/>
                <a:cs typeface="+mn-cs"/>
              </a:rPr>
              <a:t>Patente</a:t>
            </a:r>
            <a:endParaRPr lang="de-DE" sz="2800">
              <a:latin typeface="Roboto"/>
              <a:ea typeface="Roboto"/>
              <a:cs typeface="Noto San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A7CDB82-7D4E-B761-E6EB-6C36A6AA0A67}"/>
              </a:ext>
            </a:extLst>
          </p:cNvPr>
          <p:cNvSpPr txBox="1"/>
          <p:nvPr/>
        </p:nvSpPr>
        <p:spPr>
          <a:xfrm>
            <a:off x="4727407" y="4234798"/>
            <a:ext cx="2718008" cy="132925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pPr defTabSz="850392">
              <a:spcBef>
                <a:spcPts val="558"/>
              </a:spcBef>
            </a:pPr>
            <a:r>
              <a:rPr lang="de-DE" sz="2604" b="0" kern="1200">
                <a:solidFill>
                  <a:srgbClr val="393939"/>
                </a:solidFill>
                <a:latin typeface="Roboto"/>
                <a:ea typeface="Roboto"/>
                <a:cs typeface="+mn-cs"/>
              </a:rPr>
              <a:t>Innovation Labs</a:t>
            </a:r>
            <a:endParaRPr lang="de-DE" sz="2800">
              <a:latin typeface="Roboto"/>
              <a:ea typeface="Roboto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F4F453E-3780-08CF-E323-00A7D7424069}"/>
              </a:ext>
            </a:extLst>
          </p:cNvPr>
          <p:cNvSpPr txBox="1"/>
          <p:nvPr/>
        </p:nvSpPr>
        <p:spPr>
          <a:xfrm>
            <a:off x="8665932" y="4234797"/>
            <a:ext cx="2718008" cy="132925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algn="ctr">
              <a:defRPr sz="6000" b="1"/>
            </a:lvl1pPr>
          </a:lstStyle>
          <a:p>
            <a:pPr defTabSz="850392">
              <a:spcBef>
                <a:spcPts val="558"/>
              </a:spcBef>
            </a:pPr>
            <a:r>
              <a:rPr lang="de-DE" sz="2604" b="0" kern="1200">
                <a:solidFill>
                  <a:srgbClr val="393939"/>
                </a:solidFill>
                <a:latin typeface="Roboto"/>
                <a:ea typeface="Roboto"/>
                <a:cs typeface="+mn-cs"/>
              </a:rPr>
              <a:t>R&amp;D Investitionen </a:t>
            </a:r>
            <a:endParaRPr lang="de-DE" sz="2800" b="0">
              <a:solidFill>
                <a:srgbClr val="393939"/>
              </a:solidFill>
              <a:latin typeface="Roboto"/>
              <a:ea typeface="Roboto"/>
              <a:cs typeface="Noto San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9748EB-35E6-4E24-8066-4E0BE649F02B}"/>
              </a:ext>
            </a:extLst>
          </p:cNvPr>
          <p:cNvSpPr txBox="1"/>
          <p:nvPr/>
        </p:nvSpPr>
        <p:spPr>
          <a:xfrm>
            <a:off x="719696" y="2086109"/>
            <a:ext cx="4420768" cy="4327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85039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232" kern="1200">
                <a:solidFill>
                  <a:srgbClr val="404040"/>
                </a:solidFill>
                <a:latin typeface="+mj-lt"/>
                <a:ea typeface="Roboto"/>
                <a:cs typeface="+mn-cs"/>
              </a:rPr>
              <a:t>Innovation in numbers</a:t>
            </a: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j-lt"/>
              <a:ea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218846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Introduction</a:t>
            </a:r>
          </a:p>
        </p:txBody>
      </p:sp>
      <p:pic>
        <p:nvPicPr>
          <p:cNvPr id="5" name="Picture 4" descr="A young person in a white shirt&#10;&#10;Description automatically generated">
            <a:extLst>
              <a:ext uri="{FF2B5EF4-FFF2-40B4-BE49-F238E27FC236}">
                <a16:creationId xmlns:a16="http://schemas.microsoft.com/office/drawing/2014/main" id="{B5F2C4F0-FA05-1EA5-F4EE-A8A6D2095B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0" r="1551"/>
          <a:stretch/>
        </p:blipFill>
        <p:spPr>
          <a:xfrm>
            <a:off x="371475" y="1412875"/>
            <a:ext cx="3657600" cy="4824413"/>
          </a:xfrm>
          <a:prstGeom prst="rect">
            <a:avLst/>
          </a:prstGeom>
          <a:noFill/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4267199" y="1412875"/>
            <a:ext cx="7175501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dirty="0"/>
              <a:t>Nikolay Paleshnikov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</a:t>
            </a:r>
            <a:r>
              <a:rPr lang="en-US" sz="1800" b="0" i="0" u="none" strike="noStrike" baseline="0" dirty="0"/>
              <a:t>enior technical consultant at NTT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Main expertise: cloud-native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ure, m</a:t>
            </a:r>
            <a:r>
              <a:rPr lang="en-US" sz="1800" dirty="0"/>
              <a:t>icroservices, </a:t>
            </a:r>
            <a:br>
              <a:rPr lang="en-US" sz="1800" dirty="0"/>
            </a:br>
            <a:r>
              <a:rPr lang="en-US" sz="1800" dirty="0"/>
              <a:t>serverless computing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WS certified developer – associate (soon also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AWS certified solutions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 – associate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ecturer at internal </a:t>
            </a:r>
            <a:r>
              <a:rPr lang="en-US" sz="1800" b="0" i="1" u="none" strike="noStrike" baseline="0" dirty="0"/>
              <a:t>Java </a:t>
            </a:r>
            <a:r>
              <a:rPr lang="en-US" sz="1800" b="0" i="1" u="none" strike="noStrike" baseline="0" dirty="0" err="1"/>
              <a:t>MicroProfile</a:t>
            </a:r>
            <a:r>
              <a:rPr lang="en-US" sz="1800" b="0" i="1" u="none" strike="noStrike" baseline="0" dirty="0"/>
              <a:t> / </a:t>
            </a:r>
            <a:r>
              <a:rPr lang="en-US" sz="1800" b="0" i="1" u="none" strike="noStrike" baseline="0" dirty="0" err="1"/>
              <a:t>Quarkus</a:t>
            </a:r>
            <a:r>
              <a:rPr lang="en-US" sz="1800" b="0" i="0" u="none" strike="noStrike" baseline="0" dirty="0"/>
              <a:t> and</a:t>
            </a:r>
            <a:r>
              <a:rPr lang="en-US" sz="1800" dirty="0"/>
              <a:t> </a:t>
            </a:r>
            <a:r>
              <a:rPr lang="en-US" sz="1800" b="0" i="1" u="none" strike="noStrike" baseline="0" dirty="0"/>
              <a:t>Kafka</a:t>
            </a:r>
            <a:r>
              <a:rPr lang="en-US" sz="1800" b="0" i="0" u="none" strike="noStrike" baseline="0" dirty="0"/>
              <a:t> training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Organiser</a:t>
            </a:r>
            <a:r>
              <a:rPr lang="en-US" sz="1800" b="0" i="0" u="none" strike="noStrike" baseline="0" dirty="0"/>
              <a:t> of external </a:t>
            </a:r>
            <a:r>
              <a:rPr lang="en-US" sz="1800" b="0" i="1" u="none" strike="noStrike" baseline="0" dirty="0"/>
              <a:t>Developer for a day </a:t>
            </a:r>
            <a:r>
              <a:rPr lang="en-US" sz="1800" dirty="0"/>
              <a:t>w</a:t>
            </a:r>
            <a:r>
              <a:rPr lang="en-US" sz="1800" b="0" i="0" u="none" strike="noStrike" baseline="0" dirty="0"/>
              <a:t>orkshop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B. Sc.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nd M. Sc. in Computer </a:t>
            </a:r>
            <a:r>
              <a:rPr lang="en-US" sz="1800" dirty="0"/>
              <a:t>s</a:t>
            </a:r>
            <a:r>
              <a:rPr lang="en-US" sz="1800" b="0" i="0" u="none" strike="noStrike" baseline="0" dirty="0"/>
              <a:t>cience at the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RWTH Aachen universit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4"/>
              </a:rPr>
              <a:t>https://www.linkedin.com/in/nikolay-paleshnikov/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5"/>
              </a:rPr>
              <a:t>https://github.com/Nick36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363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Time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graphicFrame>
        <p:nvGraphicFramePr>
          <p:cNvPr id="25" name="TextBox 2">
            <a:extLst>
              <a:ext uri="{FF2B5EF4-FFF2-40B4-BE49-F238E27FC236}">
                <a16:creationId xmlns:a16="http://schemas.microsoft.com/office/drawing/2014/main" id="{E8A0D1E4-005A-26D6-AA48-FC7697C389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16122"/>
              </p:ext>
            </p:extLst>
          </p:nvPr>
        </p:nvGraphicFramePr>
        <p:xfrm>
          <a:off x="371475" y="1412875"/>
          <a:ext cx="11449050" cy="4824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355336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gion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Most AWS services run within a specific geographical </a:t>
            </a:r>
            <a:r>
              <a:rPr lang="en-US" sz="1800" i="0" dirty="0">
                <a:effectLst/>
              </a:rPr>
              <a:t>region</a:t>
            </a:r>
            <a:r>
              <a:rPr lang="en-US" sz="1800" b="0" i="0" dirty="0">
                <a:effectLst/>
              </a:rPr>
              <a:t>. </a:t>
            </a:r>
            <a:br>
              <a:rPr lang="en-US" sz="1800" b="0" i="0" dirty="0">
                <a:effectLst/>
              </a:rPr>
            </a:br>
            <a:r>
              <a:rPr lang="en-US" sz="1800" dirty="0"/>
              <a:t>A region can be chosen upon service creation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0" i="0" dirty="0">
              <a:effectLst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vailability zon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very region consists of multiple availability zones </a:t>
            </a:r>
            <a:r>
              <a:rPr lang="en-US" sz="1800" b="1" dirty="0"/>
              <a:t>– </a:t>
            </a:r>
            <a:br>
              <a:rPr lang="en-US" sz="1800" b="1" dirty="0"/>
            </a:br>
            <a:r>
              <a:rPr lang="en-US" sz="1800" dirty="0"/>
              <a:t>a group of physically separated data center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Virtual Private Cloud (VPC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secure and isolated network dedicated to a single customer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lastic Compute Cloud (EC2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C2 launches virtual servers, known as instances,</a:t>
            </a:r>
            <a:br>
              <a:rPr lang="en-US" sz="1800" dirty="0"/>
            </a:br>
            <a:r>
              <a:rPr lang="en-US" sz="1800" dirty="0"/>
              <a:t>to host and run applic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Picture 4" descr="A logo of a company&#10;&#10;Description automatically generated">
            <a:extLst>
              <a:ext uri="{FF2B5EF4-FFF2-40B4-BE49-F238E27FC236}">
                <a16:creationId xmlns:a16="http://schemas.microsoft.com/office/drawing/2014/main" id="{40AAC0DE-6360-437B-114C-C353BC68FF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7475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mazon Resource Name (ARN)</a:t>
            </a:r>
            <a:endParaRPr lang="en-US" sz="1800" dirty="0"/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RN uniquely identifies an AWS resourc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dentity and Access Management (IAM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IAM centrally manages AWS resource </a:t>
            </a:r>
            <a:r>
              <a:rPr lang="en-US" sz="1800" b="0" i="0" dirty="0" err="1">
                <a:effectLst/>
              </a:rPr>
              <a:t>authorisation</a:t>
            </a:r>
            <a:r>
              <a:rPr lang="en-US" sz="1800" b="0" i="0" dirty="0">
                <a:effectLst/>
              </a:rPr>
              <a:t>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role grants access to </a:t>
            </a:r>
            <a:r>
              <a:rPr lang="en-US" sz="1800" b="0" i="0" dirty="0">
                <a:effectLst/>
              </a:rPr>
              <a:t>AWS resources and </a:t>
            </a:r>
            <a:r>
              <a:rPr lang="en-US" sz="1800" dirty="0"/>
              <a:t>can be assumed by </a:t>
            </a:r>
            <a:br>
              <a:rPr lang="en-US" sz="1800" dirty="0"/>
            </a:br>
            <a:r>
              <a:rPr lang="en-US" sz="1800" dirty="0"/>
              <a:t>users, user groups or accounts as specified in its trust policy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n access policy defines a set of fine-grained </a:t>
            </a:r>
            <a:r>
              <a:rPr lang="en-US" sz="1800" b="0" i="0" dirty="0">
                <a:effectLst/>
              </a:rPr>
              <a:t>resource </a:t>
            </a:r>
            <a:r>
              <a:rPr lang="en-US" sz="1800" dirty="0"/>
              <a:t>access </a:t>
            </a:r>
            <a:br>
              <a:rPr lang="en-US" sz="1800" dirty="0"/>
            </a:br>
            <a:r>
              <a:rPr lang="en-US" sz="1800" dirty="0"/>
              <a:t>permissions and can be attached to users, user groups or role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ccess keys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Used for authentication in Command-Line Interface (CLI) </a:t>
            </a:r>
            <a:br>
              <a:rPr lang="en-US" sz="1800" dirty="0"/>
            </a:br>
            <a:r>
              <a:rPr lang="en-US" sz="1800" dirty="0"/>
              <a:t>and Software Development Kit (SDK) oper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8" name="Picture 7" descr="A logo of a company&#10;&#10;Description automatically generated">
            <a:extLst>
              <a:ext uri="{FF2B5EF4-FFF2-40B4-BE49-F238E27FC236}">
                <a16:creationId xmlns:a16="http://schemas.microsoft.com/office/drawing/2014/main" id="{4DF0B4A2-EF78-B39C-92ED-61A02F5C2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9183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anchor="t">
            <a:normAutofit/>
          </a:bodyPr>
          <a:lstStyle/>
          <a:p>
            <a:r>
              <a:rPr lang="de-DE" sz="2400"/>
              <a:t>Set Up AWS CLI</a:t>
            </a:r>
            <a:endParaRPr lang="de-DE" sz="2400" dirty="0"/>
          </a:p>
        </p:txBody>
      </p:sp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11FBD0F4-8011-91A4-2621-307000A35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>
          <a:xfrm>
            <a:off x="534398" y="2016812"/>
            <a:ext cx="7158108" cy="416808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ndo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/>
              </a:rPr>
              <a:t>https://scoop.sh/</a:t>
            </a: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coop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ur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WS CLI,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reat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ex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:\Users\§USERNAME\.aws\config (Windows)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~/.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(Unix)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llow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ten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: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[default]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=us-east-1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ACCESS_KEY_ID=*****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SECRET_ACCESS_KEY=*****</a:t>
            </a:r>
            <a:b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814B76-8C4C-2E92-FD98-5A61A3543653}"/>
              </a:ext>
            </a:extLst>
          </p:cNvPr>
          <p:cNvSpPr txBox="1"/>
          <p:nvPr/>
        </p:nvSpPr>
        <p:spPr>
          <a:xfrm>
            <a:off x="3476717" y="2016813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C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rew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cli</a:t>
            </a:r>
            <a:endParaRPr lang="de-DE" sz="1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305917-1B78-ED7A-049F-76B0915C7A03}"/>
              </a:ext>
            </a:extLst>
          </p:cNvPr>
          <p:cNvSpPr txBox="1"/>
          <p:nvPr/>
        </p:nvSpPr>
        <p:spPr>
          <a:xfrm>
            <a:off x="6465582" y="2014326"/>
            <a:ext cx="4400484" cy="9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ruction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the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perat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ystem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docs.aws.amazon.com/cli/latest/userguide/getting-started-install.html</a:t>
            </a:r>
            <a:endParaRPr lang="de-DE" sz="18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BC0CF7A-75C8-F3D4-2740-6E264A89AD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398" y="1048709"/>
            <a:ext cx="814312" cy="732881"/>
          </a:xfrm>
          <a:prstGeom prst="rect">
            <a:avLst/>
          </a:prstGeom>
        </p:spPr>
      </p:pic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80811E3-E5C0-101E-4F79-FB70D8E98C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6717" y="940772"/>
            <a:ext cx="748431" cy="8575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3B089C-CCB3-E889-CB01-84F5E874E7FE}"/>
              </a:ext>
            </a:extLst>
          </p:cNvPr>
          <p:cNvSpPr txBox="1"/>
          <p:nvPr/>
        </p:nvSpPr>
        <p:spPr>
          <a:xfrm>
            <a:off x="6465582" y="3321142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 CLI reference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  <a:hlinkClick r:id="rId8"/>
              </a:rPr>
              <a:t>https://docs.aws.amazon.com/cli/latest/</a:t>
            </a:r>
            <a:endParaRPr lang="de-DE" sz="2400" dirty="0">
              <a:effectLst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B4F70F-36D5-CCB6-FF87-16895111F8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56401" y="1054308"/>
            <a:ext cx="748678" cy="88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322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loudFront</a:t>
            </a: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global content delivery network (CDN)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Route 53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WS’ domain name system (DNS)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Load Balancing (ELB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s incoming application traffic across multiple target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FAB04DE2-040E-CE25-9191-1DDB2CA12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49074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LIGHT ">
  <a:themeElements>
    <a:clrScheme name="NTT 2023 Final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Roboto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2630E3B9-1D7F-444E-A775-BD65F304EF17}"/>
    </a:ext>
  </a:extLst>
</a:theme>
</file>

<file path=ppt/theme/theme2.xml><?xml version="1.0" encoding="utf-8"?>
<a:theme xmlns:a="http://schemas.openxmlformats.org/drawingml/2006/main" name="NTT DATA DARK ">
  <a:themeElements>
    <a:clrScheme name="Benutzerdefiniert 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202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35AE8F2B-43FC-4A03-9CA0-75EE5AE34702}"/>
    </a:ext>
  </a:extLst>
</a:theme>
</file>

<file path=ppt/theme/theme3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3_ENG_OneNTTPPTMaster</Template>
  <TotalTime>0</TotalTime>
  <Words>2738</Words>
  <Application>Microsoft Office PowerPoint</Application>
  <PresentationFormat>Widescreen</PresentationFormat>
  <Paragraphs>346</Paragraphs>
  <Slides>26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Adobe Garamond Pro</vt:lpstr>
      <vt:lpstr>arial</vt:lpstr>
      <vt:lpstr>arial</vt:lpstr>
      <vt:lpstr>Georgia</vt:lpstr>
      <vt:lpstr>Myriad Pro SemiCond</vt:lpstr>
      <vt:lpstr>Roboto</vt:lpstr>
      <vt:lpstr>Segoe UI</vt:lpstr>
      <vt:lpstr>Symbol</vt:lpstr>
      <vt:lpstr>Wingdings</vt:lpstr>
      <vt:lpstr>NTT DATA LIGHT </vt:lpstr>
      <vt:lpstr>NTT DATA DARK </vt:lpstr>
      <vt:lpstr>think-cell Folie</vt:lpstr>
      <vt:lpstr>AWS Crash Course</vt:lpstr>
      <vt:lpstr>Introduction</vt:lpstr>
      <vt:lpstr>Introduction</vt:lpstr>
      <vt:lpstr>Introduction</vt:lpstr>
      <vt:lpstr>Timetable</vt:lpstr>
      <vt:lpstr>AWS Terminology</vt:lpstr>
      <vt:lpstr>AWS Terminology</vt:lpstr>
      <vt:lpstr>Set Up AWS CLI</vt:lpstr>
      <vt:lpstr>AWS Services</vt:lpstr>
      <vt:lpstr>AWS Services</vt:lpstr>
      <vt:lpstr>AWS Services</vt:lpstr>
      <vt:lpstr>AWS Services</vt:lpstr>
      <vt:lpstr>AWS Services</vt:lpstr>
      <vt:lpstr>AWS Serverless</vt:lpstr>
      <vt:lpstr>Simple Storage Service (S3)</vt:lpstr>
      <vt:lpstr>S3 Excercise</vt:lpstr>
      <vt:lpstr>DynamoDB</vt:lpstr>
      <vt:lpstr>DynamoDB</vt:lpstr>
      <vt:lpstr>DynamoDB Excercise</vt:lpstr>
      <vt:lpstr>Lambda</vt:lpstr>
      <vt:lpstr>Lambda Limitations</vt:lpstr>
      <vt:lpstr>Lambda Exercise</vt:lpstr>
      <vt:lpstr>API Gateway</vt:lpstr>
      <vt:lpstr>API Gateway Exercise</vt:lpstr>
      <vt:lpstr>Further Steps and Feedback</vt:lpstr>
      <vt:lpstr>PowerPoint Presentation</vt:lpstr>
    </vt:vector>
  </TitlesOfParts>
  <Company>NTT Da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 Crash Kurs</dc:title>
  <dc:creator>Nikolay Paleshnikov</dc:creator>
  <cp:keywords>NTT Global</cp:keywords>
  <cp:lastModifiedBy>Nikolay Paleshnikov</cp:lastModifiedBy>
  <cp:revision>30</cp:revision>
  <dcterms:created xsi:type="dcterms:W3CDTF">2023-10-23T16:23:26Z</dcterms:created>
  <dcterms:modified xsi:type="dcterms:W3CDTF">2023-12-09T15:5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31278614DAE67F8DE8A24ABB57B81299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